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sldIdLst>
    <p:sldId id="299" r:id="rId5"/>
  </p:sldIdLst>
  <p:sldSz cx="9144000" cy="6858000" type="screen4x3"/>
  <p:notesSz cx="7010400" cy="9296400"/>
  <p:embeddedFontLst>
    <p:embeddedFont>
      <p:font typeface="Century Gothic" panose="020B0502020202020204" pitchFamily="34" charset="0"/>
      <p:regular r:id="rId6"/>
      <p:bold r:id="rId7"/>
      <p:italic r:id="rId8"/>
      <p:boldItalic r:id="rId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1890E4-7C98-42AB-8C1A-033F7A6B471F}" v="160" dt="2020-11-12T15:10:09.1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126" d="100"/>
          <a:sy n="126" d="100"/>
        </p:scale>
        <p:origin x="264" y="132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4.fntdata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a1e1c818-97b6-46a8-809e-bbf816f2bb92" providerId="ADAL" clId="{11244976-77DD-4D5B-B654-B8D5531896FE}"/>
    <pc:docChg chg="custSel addSld delSld modSld">
      <pc:chgData name="David Goldstein" userId="a1e1c818-97b6-46a8-809e-bbf816f2bb92" providerId="ADAL" clId="{11244976-77DD-4D5B-B654-B8D5531896FE}" dt="2020-11-13T15:59:05.735" v="755" actId="1076"/>
      <pc:docMkLst>
        <pc:docMk/>
      </pc:docMkLst>
      <pc:sldChg chg="addSp delSp modSp">
        <pc:chgData name="David Goldstein" userId="a1e1c818-97b6-46a8-809e-bbf816f2bb92" providerId="ADAL" clId="{11244976-77DD-4D5B-B654-B8D5531896FE}" dt="2020-11-13T15:59:05.735" v="755" actId="1076"/>
        <pc:sldMkLst>
          <pc:docMk/>
          <pc:sldMk cId="2550094000" sldId="299"/>
        </pc:sldMkLst>
        <pc:spChg chg="mod">
          <ac:chgData name="David Goldstein" userId="a1e1c818-97b6-46a8-809e-bbf816f2bb92" providerId="ADAL" clId="{11244976-77DD-4D5B-B654-B8D5531896FE}" dt="2020-11-12T14:52:53.132" v="74" actId="20577"/>
          <ac:spMkLst>
            <pc:docMk/>
            <pc:sldMk cId="2550094000" sldId="299"/>
            <ac:spMk id="2" creationId="{21024659-97CE-4DBC-8A90-274D9084DE32}"/>
          </ac:spMkLst>
        </pc:spChg>
        <pc:spChg chg="del mod">
          <ac:chgData name="David Goldstein" userId="a1e1c818-97b6-46a8-809e-bbf816f2bb92" providerId="ADAL" clId="{11244976-77DD-4D5B-B654-B8D5531896FE}" dt="2020-11-12T14:49:12.933" v="44" actId="478"/>
          <ac:spMkLst>
            <pc:docMk/>
            <pc:sldMk cId="2550094000" sldId="299"/>
            <ac:spMk id="3" creationId="{D6330718-2F47-4FEC-A43B-447D1D954164}"/>
          </ac:spMkLst>
        </pc:spChg>
        <pc:spChg chg="mod">
          <ac:chgData name="David Goldstein" userId="a1e1c818-97b6-46a8-809e-bbf816f2bb92" providerId="ADAL" clId="{11244976-77DD-4D5B-B654-B8D5531896FE}" dt="2020-11-13T15:51:36.777" v="750" actId="20577"/>
          <ac:spMkLst>
            <pc:docMk/>
            <pc:sldMk cId="2550094000" sldId="299"/>
            <ac:spMk id="4" creationId="{7F0B1848-BF22-4DC8-93E4-49DC5E04E32D}"/>
          </ac:spMkLst>
        </pc:spChg>
        <pc:spChg chg="add mod">
          <ac:chgData name="David Goldstein" userId="a1e1c818-97b6-46a8-809e-bbf816f2bb92" providerId="ADAL" clId="{11244976-77DD-4D5B-B654-B8D5531896FE}" dt="2020-11-13T15:58:46.690" v="753"/>
          <ac:spMkLst>
            <pc:docMk/>
            <pc:sldMk cId="2550094000" sldId="299"/>
            <ac:spMk id="5" creationId="{B33968BB-281A-45D4-9337-6087F6FD3837}"/>
          </ac:spMkLst>
        </pc:spChg>
        <pc:spChg chg="add del">
          <ac:chgData name="David Goldstein" userId="a1e1c818-97b6-46a8-809e-bbf816f2bb92" providerId="ADAL" clId="{11244976-77DD-4D5B-B654-B8D5531896FE}" dt="2020-11-12T14:48:28.157" v="9"/>
          <ac:spMkLst>
            <pc:docMk/>
            <pc:sldMk cId="2550094000" sldId="299"/>
            <ac:spMk id="7" creationId="{A888801B-95EA-4CFB-B6CD-CFBC96AC8333}"/>
          </ac:spMkLst>
        </pc:spChg>
        <pc:spChg chg="mod">
          <ac:chgData name="David Goldstein" userId="a1e1c818-97b6-46a8-809e-bbf816f2bb92" providerId="ADAL" clId="{11244976-77DD-4D5B-B654-B8D5531896FE}" dt="2020-11-13T15:59:05.735" v="755" actId="1076"/>
          <ac:spMkLst>
            <pc:docMk/>
            <pc:sldMk cId="2550094000" sldId="299"/>
            <ac:spMk id="10" creationId="{722104D8-6F34-4790-801B-CAF44F89683F}"/>
          </ac:spMkLst>
        </pc:spChg>
        <pc:spChg chg="mod">
          <ac:chgData name="David Goldstein" userId="a1e1c818-97b6-46a8-809e-bbf816f2bb92" providerId="ADAL" clId="{11244976-77DD-4D5B-B654-B8D5531896FE}" dt="2020-11-13T15:59:02.098" v="754" actId="14100"/>
          <ac:spMkLst>
            <pc:docMk/>
            <pc:sldMk cId="2550094000" sldId="299"/>
            <ac:spMk id="11" creationId="{9ED2EDD9-E367-4784-B3E8-3C5DF2E0AE61}"/>
          </ac:spMkLst>
        </pc:spChg>
      </pc:sldChg>
      <pc:sldChg chg="modSp add del">
        <pc:chgData name="David Goldstein" userId="a1e1c818-97b6-46a8-809e-bbf816f2bb92" providerId="ADAL" clId="{11244976-77DD-4D5B-B654-B8D5531896FE}" dt="2020-11-12T15:10:09.191" v="446" actId="2696"/>
        <pc:sldMkLst>
          <pc:docMk/>
          <pc:sldMk cId="2012911385" sldId="300"/>
        </pc:sldMkLst>
        <pc:spChg chg="mod">
          <ac:chgData name="David Goldstein" userId="a1e1c818-97b6-46a8-809e-bbf816f2bb92" providerId="ADAL" clId="{11244976-77DD-4D5B-B654-B8D5531896FE}" dt="2020-11-12T15:09:28.805" v="445"/>
          <ac:spMkLst>
            <pc:docMk/>
            <pc:sldMk cId="2012911385" sldId="300"/>
            <ac:spMk id="5" creationId="{B33968BB-281A-45D4-9337-6087F6FD3837}"/>
          </ac:spMkLst>
        </pc:spChg>
      </pc:sldChg>
    </pc:docChg>
  </pc:docChgLst>
  <pc:docChgLst>
    <pc:chgData name="David Goldstein" userId="a1e1c818-97b6-46a8-809e-bbf816f2bb92" providerId="ADAL" clId="{5D1890E4-7C98-42AB-8C1A-033F7A6B471F}"/>
    <pc:docChg chg="undo custSel modSld modMainMaster">
      <pc:chgData name="David Goldstein" userId="a1e1c818-97b6-46a8-809e-bbf816f2bb92" providerId="ADAL" clId="{5D1890E4-7C98-42AB-8C1A-033F7A6B471F}" dt="2020-11-13T16:03:27.598" v="15" actId="478"/>
      <pc:docMkLst>
        <pc:docMk/>
      </pc:docMkLst>
      <pc:sldChg chg="addSp delSp modSp">
        <pc:chgData name="David Goldstein" userId="a1e1c818-97b6-46a8-809e-bbf816f2bb92" providerId="ADAL" clId="{5D1890E4-7C98-42AB-8C1A-033F7A6B471F}" dt="2020-11-13T16:03:27.598" v="15" actId="478"/>
        <pc:sldMkLst>
          <pc:docMk/>
          <pc:sldMk cId="2550094000" sldId="299"/>
        </pc:sldMkLst>
        <pc:spChg chg="mod">
          <ac:chgData name="David Goldstein" userId="a1e1c818-97b6-46a8-809e-bbf816f2bb92" providerId="ADAL" clId="{5D1890E4-7C98-42AB-8C1A-033F7A6B471F}" dt="2020-11-13T16:03:22.372" v="10" actId="1076"/>
          <ac:spMkLst>
            <pc:docMk/>
            <pc:sldMk cId="2550094000" sldId="299"/>
            <ac:spMk id="2" creationId="{21024659-97CE-4DBC-8A90-274D9084DE32}"/>
          </ac:spMkLst>
        </pc:spChg>
        <pc:spChg chg="add del">
          <ac:chgData name="David Goldstein" userId="a1e1c818-97b6-46a8-809e-bbf816f2bb92" providerId="ADAL" clId="{5D1890E4-7C98-42AB-8C1A-033F7A6B471F}" dt="2020-11-13T16:03:26.134" v="13" actId="478"/>
          <ac:spMkLst>
            <pc:docMk/>
            <pc:sldMk cId="2550094000" sldId="299"/>
            <ac:spMk id="4" creationId="{7F0B1848-BF22-4DC8-93E4-49DC5E04E32D}"/>
          </ac:spMkLst>
        </pc:spChg>
        <pc:spChg chg="mod">
          <ac:chgData name="David Goldstein" userId="a1e1c818-97b6-46a8-809e-bbf816f2bb92" providerId="ADAL" clId="{5D1890E4-7C98-42AB-8C1A-033F7A6B471F}" dt="2020-11-13T16:03:21.622" v="8" actId="14100"/>
          <ac:spMkLst>
            <pc:docMk/>
            <pc:sldMk cId="2550094000" sldId="299"/>
            <ac:spMk id="5" creationId="{B33968BB-281A-45D4-9337-6087F6FD3837}"/>
          </ac:spMkLst>
        </pc:spChg>
        <pc:spChg chg="add del mod">
          <ac:chgData name="David Goldstein" userId="a1e1c818-97b6-46a8-809e-bbf816f2bb92" providerId="ADAL" clId="{5D1890E4-7C98-42AB-8C1A-033F7A6B471F}" dt="2020-11-13T16:03:26.134" v="13" actId="478"/>
          <ac:spMkLst>
            <pc:docMk/>
            <pc:sldMk cId="2550094000" sldId="299"/>
            <ac:spMk id="6" creationId="{4BE445F8-A5CE-4BCE-9D16-8297D8ADC344}"/>
          </ac:spMkLst>
        </pc:spChg>
        <pc:spChg chg="add del">
          <ac:chgData name="David Goldstein" userId="a1e1c818-97b6-46a8-809e-bbf816f2bb92" providerId="ADAL" clId="{5D1890E4-7C98-42AB-8C1A-033F7A6B471F}" dt="2020-11-13T16:03:26.776" v="14" actId="478"/>
          <ac:spMkLst>
            <pc:docMk/>
            <pc:sldMk cId="2550094000" sldId="299"/>
            <ac:spMk id="10" creationId="{722104D8-6F34-4790-801B-CAF44F89683F}"/>
          </ac:spMkLst>
        </pc:spChg>
        <pc:spChg chg="add del">
          <ac:chgData name="David Goldstein" userId="a1e1c818-97b6-46a8-809e-bbf816f2bb92" providerId="ADAL" clId="{5D1890E4-7C98-42AB-8C1A-033F7A6B471F}" dt="2020-11-13T16:03:27.598" v="15" actId="478"/>
          <ac:spMkLst>
            <pc:docMk/>
            <pc:sldMk cId="2550094000" sldId="299"/>
            <ac:spMk id="11" creationId="{9ED2EDD9-E367-4784-B3E8-3C5DF2E0AE61}"/>
          </ac:spMkLst>
        </pc:spChg>
      </pc:sldChg>
      <pc:sldMasterChg chg="addSp delSp">
        <pc:chgData name="David Goldstein" userId="a1e1c818-97b6-46a8-809e-bbf816f2bb92" providerId="ADAL" clId="{5D1890E4-7C98-42AB-8C1A-033F7A6B471F}" dt="2020-11-13T16:03:23.891" v="11" actId="478"/>
        <pc:sldMasterMkLst>
          <pc:docMk/>
          <pc:sldMasterMk cId="397858519" sldId="2147483660"/>
        </pc:sldMasterMkLst>
        <pc:picChg chg="add del">
          <ac:chgData name="David Goldstein" userId="a1e1c818-97b6-46a8-809e-bbf816f2bb92" providerId="ADAL" clId="{5D1890E4-7C98-42AB-8C1A-033F7A6B471F}" dt="2020-11-13T16:03:23.891" v="11" actId="478"/>
          <ac:picMkLst>
            <pc:docMk/>
            <pc:sldMasterMk cId="397858519" sldId="2147483660"/>
            <ac:picMk id="7" creationId="{2CADE155-AE95-4AA5-91EF-E1CFB681D15D}"/>
          </ac:picMkLst>
        </pc:pic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2CADE155-AE95-4AA5-91EF-E1CFB681D1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5" Type="http://schemas.openxmlformats.org/officeDocument/2006/relationships/hyperlink" Target="https://s23.q4cdn.com/407969754/files/doc_financials/2020/q3/Quarterly-Earnings-Report-Q32020_Final.pdf" TargetMode="External"/><Relationship Id="rId4" Type="http://schemas.openxmlformats.org/officeDocument/2006/relationships/hyperlink" Target="https://www.mekkographics.com/uber-revenue-mix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End of Chart Description&#10;DO NOT ALTER TEXT BELOW THIS POINT! IF YOU DO YOUR CHART WILL NOT BE EDITABLE!&#10;mkkoexcel__Book1~~zzMG_Chart3~~64463c26-7e44-41e8-ab49-3f04e77f577a~~637407890314909738~~$A$3:$G$10~~False~~False~~Falsemkko__4HooU0THZk28POP9trq+pbTvvzd/gcV8t56cq85kb3NDTsUhojRA0EsgEHHMH7oYP1SYpn09ysXVivguJdhTvfyVMsBLTGvcX7WPTor/CmXbx2PaumIqPYFjd0QTQ9JSv6MwpYjFXw1YNF3N2Q/iZ1jhTIUVzICPkjVsDT6onPHshapIHAVsXDbzggaD6xIJjVIu4bVjvkFioO0YPzHISezUaJ08mWEfDAfrqtwE7/r0OVhUrGKvDqV3TvXKy8/EHUonPRU3cevJU3yaF8jnmTmuXY7gukniz7nWU+iohssMUVUhESacCjuIr4AY5BEdyERT7H1KxAOTJc+QVL3/ycO6D0LZXluemzyHVdc0t4C7LnFAOT2YzpaGGyZgxJReIplUGDJyorNhPNyrCDiYlkCC5qFk7vMyJoIIrxk76pjIJGNqd1ME7meY57WgRc2+Q44vwncPhNnTcqlWyns+Ukh//G9iJM1hexvucA39M810XLDnPMK1X5JutgJQQ0BGRwzcGEc4yhzTZhbzDOIWhqZFztZfOstfHTMqBpFGKFLGCShi7edZYjO0yjEZkaiYsUzXNc1hzF41lnWpyR8teBWABksAqI2mrfrNZPj8PY49X2fY+kTGmt2xXGmP3YhBW1GpPcI2Kc/XH4fXiLeIwZoY3pamqmZKDUcgMvnhWQIcuy1hnWluAeJMsPaIDyv6MfR26DRkqW1tU4inUipZ5hSFSTdGfvHa02cqH2mUbp+6Od4KJ5riH7Ba19j/yGMkChYvypv+c9bj+PyGA/+Hj4/OrKm5nXUKcSowqlGX3lfhc1EJkUTAsV3hslBrkJzVtlFDHMxcSQK6B+Um+7MPJH+qdrL8TmdI3BwM0xK9SpudHlumFUkU0RKagyqpyJoY6BDlQVLMLuZ7T/ebzh/io1IVRAfzp+hrMhuxCDZOV2a4yZzoC0NOHrZPJTNXzJCll2a0vC2YUk52LTylAtchmaQidh9spIYIhId1TkC34ngLg0Y59sdJU64RJ9Wq+0n0qhv4lMDyh0a1PN9riOMatfsBS1ep3aueZB51M6DDpkFGf1i0sJNfi+QNE0qvfe5mpFIUuaWoY5shjDqmsthZkTGYBoBmfImm/NQNJTMeO4NWOioj7o0sRB83O3WpUEfbUOuYufEBd6PE2GL8l4O8uiblpyn98UPVqnz2eyLc1M72AiEdk/Yp5nTEtAoQQlbVesDs0MGIAahulbyWoCdaxqzNuMK/7Sxlkfa+9fJ7kCm1SeQsIhVjEAUAjzzDS/2fsX/4LMu9/ok0jHgiioj4oz00wpILswFt8Z0uJxRIEDENLlAMeklgAYMlCBkQEQl1Y/Qactm+RPVjuQAo8a5Qa1QyNn2llvsSw8SpTKhtlhXA93Cz1wSqAHMhY/njZd45karJIrdXmnmu0bgQSX+OmUhTRgtWUIZbbxeG/PBROEcW+WFj0VajwKe2pnc/WziVzjRkDKbQWG2bYN6aPontW+5LIRHaK4bI/pObpr7I9dMiRzPNog7e6/sQ7PA/t9MhkfcOOqOFiurIW7TctZrWJI71f4KSELyXhyEaSuO3ns3iwLFzrtMt8Vo67YFy6ZCoSpjrLo+kY8lGQHom60BlEQVjtCMrU/Lk7kL9eEo/jIA1e81KU3Ir+qTWJMWzDx1bdBiD9cXHKd7dVzh3mlHUOeoBq0L8NjF60PafkXX0aDu28apC2sAnUD18HtOm7gM4rcspFWoJiv4QKpvDpkzNTIRlDzXH+Li9srxH21j9MJm9+Xm+pdM3tduPJ1kTus91a1zQP9hlXbkWsCyXV+VYKIihtvTxCS5Y6REdhU/eJe0FvB6tO5vkXkqk5qED5s4K0e1sev4mVJQGHHiIsfqTyP4QP+DCvnAgHYRfId2XwlcuCGgXgrvSzNkdS6dOg/jwPMTE1ivzZ7lpGY/UQXP9ob+7dAhFKRH1ein6SGXKPm+ekRudQxdDee92hWKMVs+Rg+mZenRkoTKq/iK7OWBXqVv/oQS7152ybhb2f1EbLuUqxCIoFlZAop42Ayr6++ecro2x8wmG42lBXrAibH50MncCm6IX4FO6XAxcQD+Rf7++efIVXT9jtqD1Dqhgh7X7R5z/U3Ywik3iqyvPCBnQpfmt5hV8f1520bsZq1j74yqjdawIZR+35t0z7InnFn24ek+sveHSWN5DPuufNCQ3HTsdrYxL4qUcr1DFnW2T83LhKuvYqzOiA2lTjjPx0YxlDmjb+qVmskCcQMm2BxwbQzyWxZJ6+aJaWx2ff75t2w0ymTQozUJAO9iA3gEQfr5bdZFEvjvZyc1kQ7sU4g4k3jflqRBx1oObS8yyneAJm3PaKJrWV3FzTspdRxbgY0buMYU4iYlXdIqRR5wtQhrCKZ8bdKBepzXfGxGMv9w9+rgQl0fGTiTiX42E7XTLvkXULry9lNFhdQSJuxIbKYGe8Q1BPfzVN0omC5XcW3gTCk1wi9ffGl/6E2K6tn4/A4CqAfYNHowDJ7HxalFtyG7aQGxYoKArbB1JvtPGGS/Tf4Ca+cVa5By8JvHLBzBuSAdz2uy1cyBbKbfmXzPpt35KqaZF9jOAT0DN4N6kLaYYFf9flS5SHs46lkBE21jDeyWpptuZZmumSYiE4LayBhnVLr2MtvpUVqwdJ23coCZ2vUkuJFekLQJy9PfRvsZRBviInAAg2z0q46uPqVaM9+y8GA08WPJ/onK3S0B9ZavaRZGD/It0zUWatUre2wgiIcnQjWCy9Lr+5FFi4bPq9vmo4sBxld1o45RvQbxCuzv2oxWTMiuqBeKZc8owGBLsMCqC/2IqmlwRfyk33OLYUHc8VbDRScPMDL5Re07U8LEnoW60c7xeoCSANJ8uOuKnfWiA6+hQmlDGwNvnaDfHekoQdbO7YI/tQuca58IZ8i2vl+CNXhzm2OkbMguHinvhODBQ/MI4VXuxi731yk/YUcOO5iikvpYjk8UUdgZ/eWP8Y8KXblLr2zVr/nOhNb57YqpjIRa5yuT3KRUyl/h8rrEyRRlP0/H3ynlTMx5kDd5dCxJfevlcT8iR9+S0iks7kK2tDJ23g5QdOy+KHG+/RKqpvbjYaGSF+AMZJwCPIDq5HHA2n2g2nKUxF/smTzTIfJGpB7ATCn+3drsMOh4GrNZx7MdjLssmPM80M6Gmyr8x6oys345H4ntdAg5tWviuT3VBsYEn8LHHEQWrq+zuIjSOlP2V4DXnc3eV/8lE4l5SDwq3g7aEfUjyiCBOBDOGufgtlLF1yUcwRJAW3EBaEIylHZgxORr61P1nDA/3eGRhRVvYEj546c3dNfcQVnuCGgx9LpBHHpYiqtiqijnMlE0IYk4pyPpLsbae8Kn0CWV8+QbWeKd6VNYz72nwZUM01AvHAtwwfc3tdlKsP3T50tqYY6G0UkwJCJt8BRx1N5vKdd3itxJz12l8QCRZe3YJtngAt8BcDf2a0rQD3wvQ9kqxcsxDHEd91IvDRJTTnLuW6Ok57Z46zAlfQtxi3E5KRdYyfh9RDfmb1Z34/qGHB2GE3j6OBIWrXkaYWwRoz8QvmNSnjHB8BwdINie8H7+eBFDM3eR3lbf/R3uIkpAfCFKQKCiWSj6bHkn5ezL6rbfdj1Rr9TZ3sE1N4QSc2UAOms2DDesRNC6t6A4Hs7I+c9+/34xkKfLfxSU7eHoHzLg7mjleulFo1rxPD3hiX7xkZ/fwItmUerPhZRQiVqIlP2odw9olqPJf5obJbF02/sWljR4ysN7e6YrLZwU4WE/rFDB4zbVnapv0/O8ojZJ/VUztVceg2+GxBcH8rYu1XyhYUwEEEwgD4DMv7v5H9jHDwbKg/Cb4jgrJvpSdII+RvZjAaMe8bmt3JK7/mlX2L2NkBXjbY9+o8oyo+vTBXMwn0a84ZFaoVBBrB8ClfXo+y+aVtQUSsNWsyR9j6gfUkNJqx0cYEIWtNajhcavqxILR/D//ROkrpjoL2+Tp+BBml9OEPEvQtkO3LnivEfHoaA1KertujpmxylJ6SfTVcKwFZN8lPDaTdAmVXVciePC20C0UjiC1HWBjlKKOE682V2W6fElqXcPiXViI88Jf+pYJ0QAdESuGiaB1FxU0ICmK7Rqg7RbKXCYawFNpqZ24CvVdr25IEd6hSVu1yTOyS0tRK+Ocv60vaOmV4Q0lRWdAMYDIwE9tWYJ9gN5/lZgQoWhOgupSfgZKR6WSqTyFC8qMtb+a+x7ue2b/K0L9vq4q/+LqbSPc01sAXdJ7mDraQ/xuVPkPWz0ywjWQe6tRuEFx0TQQ/hOCNT9jhc+bv5Zu6R4eiqn8PoEpULeibNPunh1zpVV+XLHxO0bicNWOLusYUblOqu7oHoPkXEX2IyHO+C1udGQKF4Pz9V0us30xsTsj3/bnM4qFX8t3UceTUiFJWGCHyIfrsCXyaSmXBIX9Ra5ZIlCM4nLKIV4LZU9jpmh5oYhURF8Tsfy7XBqGiD/so6Srja0CzbrRYIxvqbStlIr4nS7aRYBasc+b2iaCczvB6VexDgEPPteasm80MjkLcPyGdt6Ila1kaeX+LqDp9+PNx3QInciY1JqyitdhcxUpQ5UZ+6HYO65hHPuf4apryCMI1Zj68XaoQLbsoT+F3ukbyNhXyyVCtTfN4nQosdQlS+3ahbYriCoYeCBuNN+3SNQ8+EShKLBnsqH6pPGtzDbtJDhsvqehYSA+YJR0SaJkHCOOlzqVb247j1pN5MzYGrAnrjx/5uLIaBU64NwDsitoAiByvUzh70NsetRx3RoFPZmcnPOBnE9Q+8h3NVvA2oOUrtZRx3zscTrTb2I60FukLSPuda229hegBTk+SNNh4EiPjJ2Z9uoVQsK03Ib577aA7+ui+OeMxjeJcgPQZ+Jwp3gkboWbkv7pWjl3PwAggML+pLsM3Brp+IcFnEEoIv0nNUzTmN5fXAHt0O6NQtHWRqP1L3RrdS5vDmHKrTfLiUayYrnClJaTXlV3r1uf6ZN8jvUIhKKp7ZbKQoxSUhOHwXwQurT2XRESFtKDg5InlTqnxlVrGaj6KC4cNs9tJZKCo14qPtpwSoprK3u7DeWbu/Pu2mgDrFXrq4tksnAuuAZuWtQ1iRaC/SfBJf6au1/cNVRIPbxoWQwbTtw6bQ0sgYx3Y4e9v9t8FEM5epy9sNycPI4rHwQ7Vbof+eAAZJMD90hnxEFoTQWjGMDhBWWQ0SkOElCPlQ1JNE9ac16Riu9mB/SVl8mwiwCVN9e7ZnbnldZYsG9x+ZeCHvjZQipv2rs/ncfgOzFJWRyTEHaBEKoTQUQGEqazKkUZJvbP9Ii0+MnZfNBx2OiMFd8iRY1aywGyScJXR8v02fCnr4cMrrg22pl8cDOJk69HVOkfBjg2jFVQ7E8i+R20PIAT3y6jmlrR1QhLdSLZmKYAcLjLDpkcMRujEiNipiHS9zmZtPVz4ffJuhgz00nHxMco8saTxktP9YWTXXU7/42u6OpZ0OfBzK8589qOrtA7gr59SMSd0K3X13YILWgpHY5zegsxI9RUJwtb2Zw9ck4v75MPpEsn68niZXBLvGIYpSrDcZ9Ql14+0NDNOwRNGAdzCSt1TFXBPZv4W6QzjaDhQM597n4Er2XPgUrVtFUQeya2pXBF+TmrCqkkk6LHLb8LUZVDDoOjjTVJav1vhquNHlEut/R5T9JL0+n9ndLSfoVPMFhcmd9ECNJ4DbU7d8UYMOCUvKGa/wTIrAKiOt7YU3zd33OBJGDc7iMvtddO8q9r0/HPhTHS1eAIQwgzEgsWrcf0cb27PO3kfZTc9bj4F19JLb0Nl67GbkVHmDS64FISLU16aAThs0/kQlmrlnuJnz06nuLN3ds9At9uiGqQpQ+7el5gMYJKuv696ajdNhz5YcZh9lC0mHLitnQngdVeYi37vblWttv2gx3ydREs62wq93TDAMlSiTGWzYqwCfzEtbXs/288cXmLmGcFPNAgzaYiyh+GfSz7J7skW/zD8/M3QAs9YQFrNg4jDKg9T2eMFEkNemoixbW4Q1jrKH9D9nqLo3fh6G5YAbxta0pIP9uKCC70vC2OsuujnZYiTc4rd9gsnZxesrB8vyhWKZuRp28rXWG1Q1FDf2DvmFECffxKce/UV4Cf969hZdaKkZQMzAIl/VpZ9nsghV7jcfqD0NIQTtk40L701lNyumn4dE7T7ZCUgX6B85Y7DT70Ddp5tklvWIzXghwyJbFSvW2HCeTLblYXdai4ChK79q1ZT63tSb3NIkMZP4f0uzZssugXlfAWL6Lj4VJMqKDwr8ertnRN/WLP10OZq2Zd/2h77Lo1Q71tr6AoF4OkPkJk8pQKUsKSczHVfkB3YjANhLC+yKYA1jF4Ht3hQP179np++AtJcHuz4Il7//A+Ly0OejT4SrokwyPxUjLCGQwmDMXjARinvQ6TpMfXXoMJLm3D5h8/K8hXnLxvasOoN8RtU+sZ0gwopnksMchsV7sEdL1QnrxJpQ/h8UZliTJvsRp3azIB1I5RHv2kW+1ho14DPzk/ush5jgsWtMGm5BRUMXLz1okJxmVvkzhUB9venWNuCflxqQkD2oItDJCnd015ztTfIqs/f6YEm10IFjcOPcsgHRMNrYPFXfDHMJqT4oD7x3iGCxMGtChwJI+dkGdM34rGqJSrR/Is87XNvBMmSEszvfHmSivNNiND50ILZPtUXKyLsaIUDsai7UjGBckXsn3cCT9qsnlR5fVIUMbIaDNfzYtLxO+nXdOv4zpezmEaH9VvVqUXtG0ANkhmHn9sizx+g2twsvkcxhi5WfMtIyO5Q6skK3O8rnve69wzKHxoh4+twXfxFNkGGtt102TVE0EJ0UKEEJQGjfmdGZyQrGfUpRGgpbOVUgV93P5EAhj+8wew5gcwTTZmwK7Zc9fDsLbMcXiPHXkgRhCnVhVuCMWGyMtX0ZfJ3wl+bLBUtP92CacjhfJQzJ5Z+Xs6K/TtT2m2CiV0c1ZUny/ADtplrRX8a0NGjitVumZ4lxUzrb8yFHW+gygd06KCb4VvA0/7sD61peiKCgvjt62YqOoqPWDE00c4PsT8jNrga2xM/c+3hsRvotftlNX/Q41LdMrSx3abPq1MvC77z6vn+wcchZqXNeU3xyIijvqST3//j2PPUjzH9jF9OE43Y35dPzoFqCeoMzpiFjEdEIrOf6f3I7qAzUT78rBV9SCV78AwCjgufvss2VONdkdXbSYQm6XqjHMwikEY9fxvavIv1wGsosKuEA3Hdj2dXV+MlIJTqH3SXx8wQmuyo+T3Vm5I7nRbuAGLaomDj7n8X/rRXip9hV1KHJ9OOl7Jl9+K94EaZ9MNaRd6Yr0y/qRepdV7bOIH24h/KmRKHzX5sxhblqdGISZCIYbWQFjZfWNjFTqJ9SbXDMepg7+HEGCYME6Fa6NhZLCUsKfsze0qw8xEvTlIZA+j/BzjUKl8JLNCCj4XZKhz1ll7gLVGQ+Zy10wmxHZ9p7bqk1IvHfihXH6v1CzeQyoXT+zqTRrxudsUJyEaE8NI67iIVLC7R4QnOW1ig9ohuOepyvM5+QjlAtaZrJtpPFYpukJhQ7BC+5YE907CUzs9PX7AVCbGqsEmZclXyDzRXl4URbSDlcy3VuqSsSb3OzXDPKS7i/qsVFNoUJak7aB1NW2JrKSKuOPbdF7eWjo2yoDJuCoFflxlGwtJPRyc417JynETUOp3QYbhFl16Wx+03h629HWYLaYR2JPrRa8Wr1gBcIrThtwrBWRk0ktNCL251mnmjgERjGi7nPzN73QOxcLMbWfiGeQh/P19071gBde/8yWX0JnKXg/auPc3tEHlw/9Okf5zqo/CbK36I3uGLTEpuzcXG0keGAQXEurzmcU5wDug/6T+ziBMpKOP7qDYl1ZZma+nuf/1sO36A1GqkV5YYeuPJnGLiy5CkhRIbe8uDgi1EL5SxhXk8C+HN7DjQ4W33yaf0vVOuUz5M+v1KaZuFJQO7EG22IA+Y8xRUbDDamcIM+CK1VC4wFZQNIJmUEPqtLAhhc5uW+Re5P0No+0RehCR91ZmfwAV/QypAyhoJhLrtKmqLOpCbV2T6RevhJrOUN7U+Nymwm/FxAGVdWp5tcl/iZ5vMldyUFeMPz7yj+meljhKN2LVMLEzivPvnlIWNUsozGJP3Zh2wkAzP4UlUvpO6njw/Bo81pxDb+ChyC8yyxYi+9ATxBLPWiiD4LtyuiEk4VnqY6sJpancd/tarZuhlxhyBhtnwlOl/MIwK1Ch4azcXLnuhBoi9eikGwht5xdakpnhsBnx7UfQR+nr3uwhlIMFybUqtB1F0QNtRHG14D6h+U6j6fkLmAfKooHqdA+V93I/MJJllpdq6TgYz0eFQYKIq9vjCTBUzbqQShRFr+FwPykD83xnTZSpC5nPJMJ7IoGdLT2iH/8RP3Xs0IagheODlxcjAFdUKEFSEASquOqOupBh1sBL9IEWqli9+HJVgwavEM9o8wQpYjCt+fGMQMnDQ+5+HOtuRzbNPEwfWuhaQ09EucFkSc65lAwBULA1tp3nskGaWDr9gjSorBZrcDrZ/dEj8tRvFb1r9lLoOpmrqeT5mLeCz+Lok3H3fWII4PtVdLf1dzS4Gava7g7IPbmUXVGKKH06bTnKtNTko7KzEGK9yPEp3CW2YNm3bOWU3MHRw4dw+Ew3G2LpHGXSujT52oamwRl8LkMqw1/4wFX5T04ZhqQYZ9JRE7GO0iyEXlSYkPOtqBWrKII6EdUqYHrcsJxSKEHaXANUWJUcjmAl2dcWjG0JXlxx7yCLyCnRijr348rXP7ycLfc+I33ZflniCfkJSMNLVTsPzXlUVOupXU/vGJt+NBjKcg6E/+PRyrqrRtd6dHVvpSvYkYBZsaJAyEbl8sodPLcwyDG698uC4YZud0LEfbfgvBa1a/gKG2OH1TGfpLIFLhzOwPt4iiL3wpBDQa95hj+2HNlJMV9n7oM3ouVzG+bkGhFM5KNzTQsWRN9eHwO1ndHe89SBCexA05UZZ9eX1sJk3pLaDqQ7DxgX2dDhHHwsztRD4v3HEsQTu/SqHfyuN1nAv8ddoqJvDu1BtTt3o4y+TiF+6d63b0UnHhnWVjOwrKqfVozx1UTMp0I3dJZnOFvnojjCLxOGcWAiC481XLtHxOdITdmy5ECZwxZm5WTbi9tzESYKkOBBghjkQzlyzpEsVHtiX+ZY4rZTrCtLmgSlBRUDVNflDjm6zbD3o5HclsqqKCYluenSvrh+vaELsZofaEfGAThcMdeeL5hw/BgbfvlpbWAHj/ZRiUIixdRBA4tdphLIzbXusbX1RB3Ap2qTuN5qaI5sbIocnjGUVGfiBDDY+Zo/9leBq5dVNGstYE1MtCl4FHhlqcgI4RI3VwiQk/r/7vEQi0BRlBUb1mpRxn6lFgr7xulK2HBM3s3wm2Gg4gvTzwimn7x1le+QPlgboLXdVtc5ZwBz29soU60veDcY78bLNGlBBBGsG7WQTyi11qzPFtuOzUBXFHGbkifkWfCzCqYAPhVMbiQyGTBAsNuCjJPlqJ9oaIs5iZFc9bLrs6H01tx2UlOwfWUuZTO/Cq911pgeqLrjvOFicWWrPCOkPYEfbCI0eN3ratDP+2KSgpXBaujoUQqkTzmyyA8uq5MbYxOkAHbw0duF1Pu6BT9dbkbUenzM8szYUef4jmf1YW8XOpGuI//HONvoCCVMngdTIUYr+ffYGZ2ifkd/vYNxtnHyau3wp9ComEU+PPDoy/wN/V3FfMbBb2gGfPl1NuzMko4KlNr/NCpRRgdbI8HpBdr6yQkPIu3w2LYwgt+EZpAe8QHJICxrI2ib5Zmzh+dpm2aB9jcmsSDR2baw+81kwIiQ149O2+lvBj8/kUuBK0pEGa4XxYwUBrAlmtSOWJ+eMBDp4pTxDWbyFJjpJ/zSwazcSgleFHS/9sOF46ZKGIk0iPU+oVoToJ1t80NDymXigWP1gLklAOk/2KUiyWwV3wg2ORxJuQG9ll00CGJlwZ74tggGAI2LqhCcS90rNEwXWLO+T2mS/RrmleOgMb4QmIG4xoNnFPkHfGY8mionqWr3IwBKfIkCazsBhNAIwwcxTE3dXYw/ivavPc/PlkunDk1ORPV2F3x5+FWl3fmekfYtDkKFpgX7UObczvoXZxr0ojXiplT/wMMVJiVK+aHwhgvyaob6zfwbpViqI8sAxXOe12e7BaqQoeQvh/Y2Jv+0az6h8vawVNH+PMwkzMaX5EPS8vQDgeJW+XjEtyZTP0Ochkl1i2odk2efvulATXVWwWvg3d9vMbZ2GPWXcaf3qlx39qz7NAgaN+WtzoRpXuGbBR+qxdNKekXfvHNX7JiYlLnloyPvFS2LssYUmQaXvytTT1hl3AdGWt10kD1b5ESRdP9Nx/WvNV2OqZlXrDgfBsbh4+/8DU2rd6uq6WctJIGIo7oSfwUtOFQwvQyWH6UQcpBieCfbOAfV24p9c9GPYyXebIemfyvRRBktLt1r98DzYtkRTP3SW2n9xf9NdH7d2usg/gd4dpK0/o7ZBT+Em/NnZ7o2AZstU01HUypBJP3MkoNnrWmEcOWQ5x811GJBED6zfA2QB0g2w9pY4RleBeRdz6vcSJ1LWaVwzWZHcOATUkOAHv0NLrR8t77SIaZcJ/VxZACFQ+8YL5QepKncwaQ8ygcM/fRCZYG4N+eF+sF2JZtWl3IUHdKDBrKApvWSLfAJFv7UroopdCWfDeZinnB0LjPOCKxehPzYPMDWT76woPOfYXIVnbCZ4ESCORyYn8aiNKjr8OkKAR2eR//RJUy/e32VIuQqhHLeSSTevcMJsLx/SuObVXOWVFr8ju+aOctpZuPJL15VNYExpzb9eWS22wOsAdzBbyOhySAfYu0g2suBpzy3SMaXyd/wAoR8FdEUY9xzsNu1w/xbzKPUbaUzoVJ3IukHYvwrIsHdS+gIG1zGCRV+EkkqGMA14XOcgFpCEEk9S+UE2JaRECGD9zKGfbrkZ0A2YrDdDiyJM8tS+La+4iytoV6tmVsjWRLnkRyugiQk05UtvsjkynnWZ81MTTmTK+mMyGqrg67KCkUYDMuK4uf7SdO3/Lp9ci8pS4BQ8Id2Q/aD8xAiRYTQ2/HDagGvIPnWzHsRH0ySZVn6TPSYmRZgyZBxM9EbxK3iz1+RIOdago+ADLAxIOOmQURcq5Vi/9a2DUnVOnDBgwRhj7GbzSBkzdABNYBB3mZSWDYp15WOS+zhG7QuFxxjJzkN/lvap+U7upR9bHhXdk1pyk/EmvAlZk5fWT63O/G03QeI7hwbO00qb0RAjvfATqSx8rf+FZmkw6Ckev+oH5gYkxeiu1p5mqnEnCmHJ5a7rSvlT+KLEXRb6ktES3VRejkROZ3DE/96UAIsCfIqZ68rbb0YZYeSoT4ksXNtVxq5CZW+mjeW4KfpoH/5XzHFwCEBkd1UgPk6ypqwLuLaMt2lJWvduSLmtYQEgMT1cCCy5C80pPkhRD14fSwEB+0MQYzk+jcSS/NruMU7wUfLaSHZb92MqLHV36oSXNdhnbzYtenTjJa2kKSWYtUrbv4ANxGYneUlltI8Nr+CSC4xwLaXM2rQ3DAKNGtFj5spaJOuUgS9sc9fTSPZhSr/uzjJ4YkD2+tSg7xqUUVHNphEJWTRwIHUsalpiTmdlQUeFEUlKpvyi5uo/fHre27CcXi1kPSbu6eommHSbo1WverEErZB7VQyKroYIBgCIFN9Hkohpwip7w+sJGAX+PhsHbUNJl5J13YcdC8HltNzDzS3pDyQcq/T/2auamMwUkdUB3s3RwOyS4HfrL+laEg1IRo88R5bKm00rzP57Qk47J7iq7Au4EBOF/0Kwpnx+bney3VThJlk6ZJE4l8i5tgTYcZbQW+ZHLULIdSR1FzX4EUcm70f7SKAVAF8wrzAIjmAVO432Av35smPzWdBy7YLm4deba0yOwSVYnu7MIfdSO2GsYbrE2cmVU9DExdwg0QksqmKiaOQU2F3JTyOv8yQOYNS3PAx+42xNuy4jxX9srirLeXXTjT1evuKbwg5+enKD0bozGtrmOq0DVRm4qZiBEFvLotYsUjZIK6KvFINpVPi9b4XHDXh+08YbGhA/AGRd1ehAdD1ma8PvtZW1EkpZLVuTAk3xX+ytQzYIFFvi4ZBd27lNgHx1E/LCwDdCk62mjxV4y6ffZ57e8065MQEQlreDTQSRCNj9DaKnCfV+VD8FwmhIDAnyrDqWhbP6tb1iLajEQcHgfw9xUQneHzJpep8/OOZ5z0qHDvuGNwQLst+1BWpjwUVF+RHfL+4JNxeDE0lyOwKuki43SA83tPRLGeAjzUtIbklGXj8T342Pr6XA7RedClzq1/Tnho9WOibH070mJcf5yPxp15v+lugygWbWTtyH9KDIiwvC8FXZqNpFJHHqDqNIqwcUwmrbT6et6HLGk+NZZ4vYuFqjoeuvWS/H9yv3Yq9ZbUQNvJynm6nsk5ksftL16r+eOLX3jXMrUx9ZIYn7cCD0YjkrjFhf/SApI6iq9FpzjJcrKcNwVkuQQ0r6fMvZ8YSVDLN/esDuyyQwecq2GePwqldTbPkeXPjp8IWObQXVUHDifJ4kGKtJ/zAZ0eCJSCYNXk48QjKtEYZcWlLwpQz9GWX81Pn00YPgz82HqHbGKWj9aQXorOnpLfNa5/XOypIANR4ZOI6N6bu2BLX8lQww86sDD/E+wbdf/Zr7V044lm5K8wKFnkH+k5+gRqUMtTGl9E458QoaXYSoOWEZsaReorq+ED8qd7RRc7khbFyYYzgIH1CPN6qi3D+UK2/uVlOtUF7qFDm/a5aPUYD6ujYAuXZe5oklh9hDmaBMINMq+Chco6YbSKzKJFONws0ybXGwcCKBS9Xu5QFhXnrPkm/PIg02ZZz48IP7PQW+5oMXK7im0LZJ5DBNPMk/bkRzrkot4Kaed6V57lkTL+r/ODfCfCl8sgoUh6rAspt75ETjWDcUz5W3o9GXdvMs6Bp6MIyNoRCoir28OPpkoVi3aLnzBVS8netAtKU8iq0Bz1rjvXdxnjv1q9m0V/g5hWk7ap/7gkG4aUVSn2SjPV2JFMzBeqE+lAzf9ESrkGhDN6Eui83/6AzsNUQ9Li4b+YP4OWYHGRFFgPZtO5u7JalSnYlUv2Su/PK3wZuF2+DXYZlvVtcifZ3sx5caoQ0lhcU7tA2L7VWfc8j5cbVYIKUuyZPqFhGPOVEmV+w7t7l8L6uPLhRBhNAp4U8DUD9XeqE51GTM6gHcS4hSSRihPrpU9hOeqICJa0huuoGsXQzUaMnqR9UEEnZrL2Wm5ssdPLL5F7CdntsFjWA+vb0PpTJqQ3czFeHGIJERRSodIwRei8cWVXB6sjF3dHrK13XihNIcf3kqIM6qhgWwtHovjeJar6ji201Ylvh08n7w1SUZo2AJa0ApzaZiVZK3yo7+2Hn3aBQP1L3pk7pZr7cqPzG+BwYPXFL/utHc+34SQEJFpm8efJF9jifMzkEnzsND5CEJlZ8s6NPsowkDo/5lw90u+cguwhRhoKwfGAUU67mQeUd4ZMCnlAbKfzvj3YOY/4Op6ut2YGQ/N3IIbA2y4xcViSZ5NaMfhL4BYrqqPpa1j8SQXvv0+eV+lYZWZAUPTy5QlEJUZlAIj9yApCI3P/zYGh0Bs7VJUzUlLEgPPMiOJxRYQvo01cxqUggCDDdx8hUhZrRBwDWRsYqjwbR1QlgjO6m67df3vwskF4vYwD547zEyPt+XK0Sp8Z1cUNYB3IcMSm5PIWSiFWZdtNRAARwQxZCbuabH/gaqPrB+bpnG3dclztObDjwjlVHLL4kUz7fDmpxzqQ/KAQ7zqz81aejLY9K0JWO7fV2bB1FiLwRAeHfaM1Vru+d7GInBWY7kDb33kbk1Qdfb8c9kRp8DNbA9200yHtkcKUIgg5CvoEItcLL7O8BDY9oRxgjCO+rUpwV9j+cwScRAA4/V1oyLvq+Lzc7qxKsPJDNqAc01xtSBxLl1udqJMkRooTyUPJNeGKQf/L/5ta3dM7M/qkguARVglR+i+R7PBlCOZeDBXBHBj3CY5SnZH4R/6EYqC2OZ2DnV6UmQuEJgDWpNAI6Rqs0Opcf0YMqnM3c7KkyAzwxJccHbbS86JIQpElA6MQN4LZAzrwnMj045IWEzYXGou95dlMSllBt4DqbIKK67zuKOaTcvcweVRtTWIZEK2L1Q6QEAhTscCR5GHK8dc3opZyNKxdEqGOKo0puorzg1Afk+UvD6U+LODR/timOXzFYkMBoBuq14JQS+D1fO2/NM5q9b0Qg1ucTq5phWX/YB3o0V9/+xb4oF/dHogQTxzn+/ehXJ2UvKJ9CRwKtBx6c0o5SZxKv0E5T/jX+ASqc8cpk093xeIfQkUNNfc+H6NJ1zGkTCrMbBSjk7GiEaSq6G4d3zMmDJMDe8S1cZCp+yg0e9pW6q2vSzuV6oT9Nqpw2CIlCiLq9LnrC6WQIAfNb/lxj6M1fJwbRGygNsWKAA40sUsY6lhGJHR8KVjGQsEhntwsvz94KGJiyFA7BPRymO1NTfmtGAj6hQlTBRZlj6lXOoX3YkYKNsyTK68xUQvk4YGJZZu8GovbYYdndGflFez7uR7DipFS7svJ8TV7djrcNpdKQFpZxfmb73+TPXB2vLjkUaM6D1RohPT82NJbFWAlpYGvx0WH25/2tTisn2BBqnzwA5/2MWwt8uLPjtAwxDfFhDJlGD/ranzd7PSccXrkkLJ9N6+ZUnVdUoXkxlmFugf+QeEA2OPWk6iQPhYfUmk1bpATzU0DO4OyNpiTjS0Jbqh2XJUemzTGu7DkWp3/SOLkGLyVqIqUKZsCeRnk1qN7/yGkvukdS+HmbNOZ3/FCBDbvZejtX1fsFErLnpkocycBo3AvSQ90GZkwCe38gNrBqQKz4NNFmrB3RgkxA8KktZqMMQMMJp1aW2sumt1sRUZ+axCDHTuAx07397erjvVfBf1FSemKRSgpEVMEFTb4SVU02PJWF4Ib5xrjzk3Kn2zfsRwA6ScbkzvkokY9ffZray+g5MInSuZ5KDlhLu2rv8cS5Cmz+50VTYcS4XH5QKI1lZn38tSkotTJ/IM53UiSaaw09v3mG0sMgHS2JVtMTQxDVhgtBqsa8vx25yPhI9RExnc621m8XIznFVe5mmfWE+BHW+AtjoDGgEJN2MCJsHrAWkoy2ZyRSTLV7pu4BL1YiYbaVlOCxL9jvsYBAtQDavqberETPErG0gsXMPxBO9jWDBem1iR68beSErzIn4mWApuL79yvU5T9zlTmxq2RTsoa16lWOwjsORQmK8HZW3x2DSKKmcFU09yi4QEjkb2jfnFO69dIIUkCRLRt6Apj4zIJL4zXMuY+/td9Pnj2Gv9Z4xwkgv3ULAxGt6S1yt8LkaYtwtgPJrUoOo2qX0AroaGWq9rJw0h2dSGqAxaaTtCevvydBX9kFHtaA7ffOT827Fl1AKlB4GzDmCi328Fh9yzsE8JpGQLwwvmVhD/j8QMyHSGequLWXq8giUu81SsT171z07qgNiB8US0Z9ycMYTnAoo3x7p+VvBdscwF2tHoDYl2Z44nnIhcySNpZT2lgLH8vaeAwvzV7l9mLwXN6zPo4ftLJs/B40fHgAWNb0GXktz2mHIf1HHt3zrlksFun27jZy0aOJin3bujdgQxqnuXtt2o9XETmS7qp3FqX3ozCBakr2ol4mHNQ1YPbzqJ1OhoIZEKwQZbpm4FueWRnvHUCjXY3JXTR7bpTR8AY5f/TGSq0+ZfVdSyPlYtbFw2JGnHlgnIDw1RSZHkA5gThtywMsnujY44VQ/Mdgzx7YdcRWEBFRquUXXcwcSar/RYGg52JcGOcqF1J8dVtO32TJ1Rcd6DT7fc73p0xMy3anmmlGH8JQeSJDhSDYhTrCVOTF67I5b+bGjgPBrzDWX6pYCReGveoLeh5MSvzLBpuvWsAkT/fcjMLVViaobodAZE8m6Mjdch4Mnyey7r7FFna0oQfS8ZqV/b6AowJh45j6xbJsfqqhYiwfMQ96YORZzBbPxPer/0QJJzicJR40tsYkuf3QmdRtfHMiFfhINudcKNFbNwDP9yIvAUbbBvOwt45hWiCXnwyqYLK0msNW+FnLU0XzWwQB9Qtumsiq4/6yvD9szz3U4jmngXDlwRZ4YHyHbRiFAUYL7Avghfg8dgCkiNUMBF0DScoKdGT5qnSUlHC4xVS2k7LZJHDWGI4f6AO3bnNx5jrmX4cSYVa5XCvcz1+gAeKlQYb+gRhsw1wLe1RajKXrj0B71+wJ0lbvfNy4gOeF7ct0V6BCGchm0FQ06L9QKKxWZ1jmjMerhgAnp33rtnYloPKUdEJv+R3m1ytCEHPodRAfTMsvhYvfylppakvnQ6CmeWOS3/7y8zJj6CMJOv/QS8XRrCZdnzP7bLgpyf3/cQZ6c0ukL+nR8Xx1klWbTEli1YdyZtrWi+8Y1ed8N0MOENTWkW0CsbZGOBCtv76L4oOpRYG+xDTPHgyG/Vtt24lQ4iU5CnsMmVDtO1kjjN5rVJKrvXxDLO9gALR9HIh0O0TLCOrId5iWVpTGbIVpb0gkIH46vgQipXvtLrR6fLA77F4urqXQSCJz3vslN/cFqjAXlv2zxwGHOZLnm9k960UfNRleymqScFTclI0wY7bnC+Z4yFhPwuhlIadxMcIAkeNFzWqve9uz+d1WDfPE1RZydGDw54RdgQloJu2r81pllC3JDfWxuiWVBkpEEBh0YxvejCb+sd4aWXlh8Gx9ZZuyKdfeYnvats6pL7FTBDjlHfi1SHkw/TnkTwqWIFRrfybFkWDSWNhXcbtKf2FDEe7D7WBE5aHyA6XTqvehhZrWXBQvuZkIZ70g2ZAZesrMW6F/hwEncE+H5BWUxeGXcjPmD11HBQVkUWrNzXqKwyzzryZNqnD4yremybKUfn4Y7TWn9u6bWb0i++5NAo1z16X0+N6Xm//F9VB9rdocl/1y3XaRHQRmLAbo21vqOR866P/1eCVKSB1j2HVGNOPD4Jv3k85RjIRr6/Nfl/YNL6+6PeWuv96yIh4oNVLhX8ZkJjDSGZj4kJVMa0h/Pd2oCf82x9EiUj3xLun+vEa8AaHko0EYo288ljPpXoaAhcvJUc2qTNYW6HqVO7A/qt8RjbWk6eV/B7kW3RzE66V2nptDCDhwF7ns0E1j/ISYVa7Jww2yvRahWKXqBJaeDRHCdzMH5mfYYiDpkWSfig+0mmmhIEJWhHRHp4pJBdomqHoXWZFEJLsrvNMNhF2RW4DbynaEJI+QIZx2FG6KgyPmOPabaemlOZKckjBd8JmeuxRcR6IQyKWzxIRwGESgBBhnlyoZtGkQKC/U8VKbcR/eWhwDffSn5PldkB1C6gJhmIQ3RRA189kWdZ3h8hNXbg0UAFYycvddcKC3LVgD8xTXI3jKB3NyDHO3Y6HdItxjhHLtbqA5IK0OIypD64H44e6IomjM+RsEl+57FhkxlQjeZJ9RoUmBhNQFGJjdO0MCP19jbUhHkQ/BhqVudzYkisnaKbUdibeRp0oJGwaBK+qaxAuT60oy6tTxTT4PRyrsvJiEi4Uhv3gXgmsfWNeDsW/episM40tQ0PAzBKo9Cnxl4SoV1NltYf5WRQY+8agoa0fnqijxVLBejTJyFOAvyBfmG+gpJQVK86J+fY1vg9OXmhwDLlvSdaz0l9omHTBRcLoj9Xl9zni6EvhPn7d6Oo+VEebU8BpbPy/ckWUX/UPSI4RZzHtTQxZKQBoEPMcrOn1niH3TcgI2tCv5JZSXxttqzWCPPWiLHx6GQ5RJ3DYUpZYpGUl6lRlNCgF3yobqd6RuZLoO4ed+lDkXZhL82RkKsDoyImRU+ouj0cg+IRLPzWBzwiBdXsLUWWHnbTtNs/7jTlk/+ExQ6yBX6krhJ7fwnd8CWNXFLNtUcy1IDD1U9yux5uqlTkTMfZtdlbLQWxUcssPfKzc0Dj7kQo2xZAtCEJyUvWPq++swm7BH1L7YZb/wpcYkIiSPK0vU/5CQVB4T2yhWsCLFT7drUSJWYybdy+fnnaZ9hDLvtpAEFousMKOrDU8aAUD8mH7eyaz9Ywxz6+n8NCbb3fb9J4mML3YOYUYYsRfWGLsUJlWV0E7AEJC0ng30jD3Q52DMXfruM0SIA4QsXtkZeBr4YKrYFcYN/HTyidVmYWA1cvHjm2v9ZT6IP1PcJ46kKGwOgGCwzBRH1bwTrdj8sFAFk9K+QDyOATZy3Lsxkf66efjNgxCJOoFGwymMVVfjD7jMr5R8WBHJqZ68+GqecgkGCKUgU4OfTpm+kwqV1EB3tlKUJ09mim0UOe8cAQAL3PPk8rzPSIt3D+X9JEe2XeJHbpaARwRDRI4iQOR0KRLW7/eQ6i5MyqVoZYC3U6RHH3HbDC2KiwWEkbTNYbh4aq8uDx/KjZzl/TiMmW5ep1t4ZMERAFcBYcE/ZRfob2dbQmzvJf9OdVTjcA4ygrAj+xJk8XhevbPqVxo+98iykO4pElHKMvkwoByb7DejYhnt52KIQsVl/ktcDI0zmkq5q7da7nJ6gJf0xVD2QrlmALSxBKjT39QBVDklTDPyyvGKTIcyZ9AmRvfAL7LX2waqR/LomEXz+V1fGvfM35dS5HvNm0MzcXpAA4Qxlvf/xap0wIhRfH2PjpUoj25njQNTXKM4h+RsyXW98UR+HZ/v2nj5tDcePWYPpFj8TVgSSIHa2X4HomFZofhBPSScw4eDm+zvzysfYsbaZtbb9pDkmQF3ylsp7xLqYAr11g1nmb6y9XbwfHBolsJiqA3S/wFzmsBOP+ky7Xo7Z4T/jEggfbcFDnqyluDxQn7OxRiWcbw79e7SWrEqFE5v2Uf3kTPs/5S/4JZjqgm/jKuCNbyBn37uSD+nPgrXDyMyhUxXX4baoEhUE/RcZRaA+Q+KUcSHMlf+hwQNlp7usNfxLW0nEjxNFH8XPNO4Cq5+BnN8QslvAuWJx4LD8soBmiAf4+rLP2TxclkTBqzySZX/14VVC6B29QOVTyijen8aH/opaNQuX/633lfC15GKwA0D/Ru7Ovwt9CbvHb38CW2liFGSJQ6Ncy59A661MYRa1HYg4xwGc+ZWSLqlqn0WO3jnzPyS3td3BnxJ6ZSKrP2yMYFytXkx5Ey+RDpwJaLB3q45lKXcX29eY32ld4Skk7CAVtiJVpoqgXR4fNN7oUgVlWH6yRi6fPBXXCfXqakWPZ18zKXH0ayHXIdjyoCOGbS6n6MKC2OalkXveaV3Wmzxi8RW58gJ7slWY7IPRL///gtqV42lb+Za5X/G5H0CXJcLOhhJsIS51RFoc5FK/ZPsZPGGUzuXJuKCkHw4PR221I7JUzULlShJPvEa7FkqZJpFxXA8HIuiecoXPTmlw1xMpa/uEM/LWDRgKGdbipDVA/mN2atBOrt8qg79pAPF2HYSsBf3QZqNoPaFP4ljsrXH92eLlRh3uDt5oipY1LPh+ulCJCu7fYKJFjijdswnvcmUZ5AMHD6iEEu9KymlF25PTo3FjOMYeeM05/tkdk0Q69RJP/QSro9Dmghdqj32GmApc7Z1xT5aTtGwiGDpej/ZBXpU1e+mB/a+8SqZGUSRMDcxiFtdu2jBCbyugEmJhfv1HSMsU/t1cz9k2Ny8UD7pcfm9VR6BsX4t0NOKkYSbAjlFVbHDAgzW47i3vH2D4OZ0FG6q1u+2BwXkxcmqWRp+FyEmI+/CPmEgImhJtTaHUlF4ysQIidWcVWKf3ZlXtgfHB86KZZzzkql+0h4fGDkNK0FFXeqFXkBPI44tEcLpU+K0093oN3v7Pp1ZnLApsIW3pVJn0fOuFjebFWyDHGaSWeECsQHI5gRq3QWiNRpMSTyJu436zGxMIRgMGC5x/OOv5EWNZambFINWlHBP0TB9AJPUSIxPxXKmJyyX6PdLnC2h4Cdagjt0yQ7U3etvX9DL4gaUyCCYhrs2hpvGW2XCxZ0YJ5nnxeakJzsXdA07Zy+Dp9wNmhJuEIY9b29avGryapa0c5VUjSW+ZrYmI8muG6wsPJKwYtcJbecsDygzWF9lipR17yMPA6YjA39EWmH50WCItxAk3LR00j2vzkEiwbuArtKRaySQk/mrg/8/ZmoEtyqG8gnantRlSz295/nm3HwB/M/hBMyRUjd4cVeMhwR93WMVE8X8mtAIW8Ea1FE3A5EkcUO5WOZg5xm1MTR34VkbpfpjFUGml1HB6RWHrWn5jOBSPbVyaslhQ5d40SoIsfhVnUETHSOnnb+vrI0Atgmrs5ZGBdZ2Bk0f5yBIjHUz9pkYR3+D8T6whE2uYkKMqRUmsQIKLY6XkFoIfRq1cXsZeJn/3xdgUMF4KIxRsw1jHNOp6I9r9oYAk+FUqvzW2703DkTThxzZVYUdecsz/Nl+oZ92HF1Y4MMacDrFxLxnDgtqXUeqKnjT0zibSuUKSZnwtxzRKqK/x+j0BFV8To1zW2xfH8wiH4JkFtsw1U+40uvus4vRCqwsZl0gCZfDwuoJgikfqzdzSRH/Qznaf4oXiaU8oZiZ1FSFMjOWRGNdGmVQttnNl+esFwYMarJiyHufLKKDYYpdwXguhl7Ihg2qpGs6IOo6r9EFQcO90Gj2YxCeUerAwkoSlwZsD68gfFk6EsBzym69l06WP3AhhPe2VIS64clGoOfwuQMX4XeJwRPoOBioQhcf5fgTcP6WtsiRu85PWy7GcRV8k2oYepsOhicnOsn+a/SVDyWEfc/akNbEoM7KzDzgYYg9t/0rRiA3pm9MkjQGcX/JqpY0EmdWxxndtF1vMy1ERqgMvh/CIOTkdqa58ScQTk4Bf10jnTlKKJIMuy7dToq/sxhiW5AT0FoFic2p/Xo+T0qX6C/bSjmknS/iiFlImRDHQeWDoK3cbmpAczk62UWkNBAIJ8vU1OnRL1D4SK5D6MBAlzl5TaKZz6f5KfiovN1tD9IN2faeuJdNLLgmdcHoDnNgtR/S4JHWYeHC+3JrpbIZ4AeYePYfvcpa25DzBhRmZqVpS+QPar+lQy5Zg5HLZD++rPaG+HbqXjjBhtHe6Dor8K8KclLJ5udXCeSS+pV4bcujXu/ivsfEnLs2Mo7PE+8uxSU9Zsog/m6KkLiMiFJfmBmWvPodjRLG2Y01b7hy2LyOjpOFn4gFX9/ZVHSspqT9XZmFmzb6keEFDdjRJpthHncHYrzAvSsz9S8EVkyUkn2sfVEErFT4UWz8m7us/xqVB3ltHx2kIa6SDvX2z8040quAV5MjvYQtli2nUQ/OGEDln6AWjwsj4KcIEuQq0GglKC5q9TeuQoKsaRVAholoDEkU6b5tPsrLPCSG0Q1g5WzSJ7d5V4iit4YwTBeazgecvdwurLn6KpL5ehLVQJPxfI5J0D1CYWSyqHqUfXHhwbQzVVjaIGlmhVfFL/+WKCrmR8pZqHEOLQooSomJfpBdlewAO42puMXY0CAmAZ1WzS2K+ABeEgrS0HotGtvjwlf/LAtpDQvknb0An0wo2UkXVyxkDfmtDSVg9Sfp/oV4vWiBJ2LJD7djrX7lWM593MH3annPZIxRUtqix57nlRH3ZQ1iAsWtgVq3yGA8b5mm/ezLp+7AOxZmXeo0o+J5G/0tVNiPZX61sOjpJ/RPwYJ3+2ecKBAjm2e7nHN0jygPjgggn5Wtsv8sKViKXqg2sKPZBdyUKVOgTYSu5jzA+WIYqglbGS/rnbmzVByaY0zoi/dsrPe6oZSyXk2U5VbPm02B2OZ8ci7FVQ4O7sNsyHzlFr6iIDUbMuBWuFc3JVqk2Uhf63YaS9CURWiKW03A8PMjYUKaBwIDaCtb7bear17LX7ufOXUH/g9yv99/NNPfOlPzfX8n+k6m70lv1+1hmvlPQNRvoPNoo6aHoTVJXF2m2y2LWtwTvNqkA3aF1ieVtxUoMunmoEkQhPg/9wIRynrtWku0z8MCgy/CtELRWsc2LCiEgRWTbkIx04e2wlhmkj3P/1b3kJaEG4tinhJ3BZcyQi/yq/vVyZCwLXfgUF4cecCVtp6jEEZEh/ygRLEaKZ05VTUJtoc25QAyr1LvCOlc8nXVpS/M/rugU0tDuN/yAZ2gqXYf0C6bH+MXXWTt92SLunXvekyC7yjtC8IK+3SjOV75UqX2Gv0u2aikcfSQbRw9Z78iDhd0cjxL6mhoZL/zR/4Yya8bddGjlIIf0/kfTu3cF/+ZfQRXr1ehDI4xQhddhXzsZN/45w0tpgPJKYYESjMyIhHL4kNECp2guy2cPUhpxNkMWQS+RQIQqKm30RWriNdcVJNz3ZppmTzCfrLGTbOnxYbu4A/duDIs0/nITY4reKfrWLkBHdqU4PNbNx/dvxSuhRwCiOgylpTMpI7++FZQzmyEa9gvKQ9vr5l/An1PdGlcbmfkillFpyJWQpsJDbmkxz3urNHJ4/ZKpYDB/Q1+SSd5gHKJoqNoAA1+8oPjL0FjvznDHTBm76S9f4tKQ4iRJDuSso+rA5pzkylBdmFcY4BGprLeS1pkyrdWgEPDMIkhCpwZVtDQHhZZR+KYOYkiL0EE9mWN1t9ZT5Mu077b14oiL5N4oiASk9yB0nVcPQUEoWoTUrIQKgpkCRmXGbPudVKRHN8QjPnUsNpgHbL6wMGVDKwqengG0G3ADGAg7cLsP2lOzQhDecXG0zIC/vQqe0n+XdAAl51Ifgv9n95tmZZlOq4ceb7Fu90L9OevXvKF67kFpX4Gjei9crp56tqduUTQ14Zgcs+VbUkDt3XE5SmG2estI1ZmEHFWxVobufZGVdU5GCkVTdhcyis6i1uQJekOvnN1isYS+fnhgW5o2p4TTVYHGT6TWVVB+nz7Y4Cv/qDn51bs0T53aiK47aLXbgboGKZk4f8099RYUNuPT4RW5J+FCZOaa5OU8XTDQ6kYBeATMnM9rSeIPliClrAJhpMcJqTT/Q5qgkJiS+GKIGeIbwoUVS85NqCMuK4BrVQq7CwpEwuDuw3PhWzgfr0N0m5hYuixEWB/GiTO9eCwuF4tYHrIIylkGMVODoe/vbg2u/UghiuY5Fn0LYSF/j5shOhQkdRj27vq8mx6VNFaySaXQEm9GGeuf0aVi8zLdQrofMchBqlzMlJcBFRNJH6yUIS1tF3RzhqpTbFaqXe3h+eMjiR9ShalaLmKR6xk3jdPN09H9iKyR9rvk1mwmnxxW6MGPvzFX1p9F3KRtCNvgwxLA9SRg+pqnO1bRVIeRYnvFRkQdCMDw1e8bOjVyx0OpKqkVUeWRbtwnQ2S+Ds245o0+hNIeWXLX7OHNRsiRHLVDIOLqF2MghGALfGp9Z/kU6Tq3DBTHx0JQanH7PFcXeXd9tUXEE5ktei6lm2AcxU4wkA4NiDCg5QG0LX8CtKphtHSSqqtKhK+omnuQjGTOGh3sp/Cd/272sN+fHA9Fq/nKXL7jBChEecPsaY4WYNtaAX970A+MgZrogn6KnP4l2J0HAWjYgyZlwSP0kvpHd4hzpC7exz2Ihtr10gTA7n99TdSJVPHrZTI+KiTR4WAc4med7kfT9jcXUGS9sOJe13PEsYIr62R1OQKYrZqsX+Ivhefol/CEp+q+GXUzfx7OihER7Hol7Nc/Pi4JxDPDs5Nbtwzd56qx36IMuFQ6pst6Oyr5nI+0Rs2O6mmUkN636mT0g2FLhRckSePn34XQT1fOnyC0gurM8DTY8tEd6iIShioz5B07LwnfC+B3Ca86updAuCFZdWtFImd/E10LAuXsA9v610DNru74w63fxUDys/zHRLQID6n5IwdHMQZh38LaB3fNOsRQbPpReU8NWKcZoh+ENNQmrl7UbP1BG18j33XitX4gLxQKMLDGHu1YMXZ879DYtcJ/vis01IsWVOdAwU/LmNcaSCx2eizFVKaUHq6FUspa3qaEVBKLR58jlwHwkOhDFsNJY3rCm3haYhnsHmBi23mQO/UjvguXA8rP/ZLulzs9U7NOHjTsFKBV9Z0SAjwEp2jA6zERWTNiBfRMs5dV7eHnOxuqRLgohj4fBAg0NLf3a4GnuAA7Cu/y2GApwKFxA1y01EANuZPpzQkPJ8Wyo4tBK9HVm5YL/6FozARQ0KDkW5CX/dbUSjEsP2jtzeLRI2lLoXlgxDUtXZ6y6qSA3g7GJEtMkuueP6jQJGxzRfUNGz1mq0mWD7RJHJH2UmHSKO4wLeqv4pZokhM6MFLKxAV0zFxKXjUcee+fP/nu2X3x/BU2yCG5oWC1Ij/Ktvi8yLp3NM+27tcsyRb/sWzVBfPFTb2mEKIEFZcNrnJ3IAOdLspK7fXntlQJMiO36kvlxjrqF/1kkYgekww5pKck8w5mfJtqBJZvLdaNQCwBaEKATMrRL0O7xS+P5ga6kqPQm2Ea8H+BbF1pFHYaBvcDJ6fM8zFN8QhBwer8m5xZGzy1/jGjIe8idUnDjIMZXG83b2msninP+Mu6KwJYf9UdCJo9Mod3E3zVi1s7gEibBuDtS6xsYTFNVEplSzX46cq0Adee+NDxL4G0laKPCWiLON+LEogypAKflTWTyObywu6HrKO49A3xb6EHzJ2H1lvnh0yu1dqiUhAwXzBnI6JYGGdrFsA24LY7poK2rezVV9YoT13vn4BF0jtAnprPDeP1Rqh2Py3fno4s1iC0jlO4xNYlw2LOPwARjwImlWawz9+lDIVFcaaOQCSuiYAZzfNvbEgsnHGTGNdMI2uIqi2f0Kg2AtOIT7f94HMatGO4k9yarj35R/zasq19IhJcTgj5EwNDr0TT6p3u6SstMVn0HSKNz4rj8IcjIfHO8tW5Bwf4n+gapWhSXVxvMKHkzplU84vezkalrA2sTO6WMun4SA2n/e8/uWZ/1G4cf9Srx4XUqHr8K0V/GvxhP6vJD54TTTA3UCqPxtGsU8y51DvdPXl9/nm/qH5mG6xK7IQg7W1Iy4jxp7LtpaClBzUfFkq+bfSekevGOsxIk3sVvH11v3gzoadgfFuYItpDMDfpMaOCziAhQ658EP7zvg7DfGWCkn0oqBFOkd8q+H2a0NtWKtqcpku3SiWETIt+CieTl8xPEfcUhyF5IYL5roj0K51ouE25++Qxiz+FXLimDjIpmuEg9vgrkBL5el9dslSx+oazLmC92vXe1AJlKQZi3fUt+B1jq0WEgxuG6t/rVcZnk87eLDP08nbsCre5BBQVWMXcFqDwlRRXrnDH0phbzzejZNDBhBnEoLUnQEaRygUOVrlyLEMD2p5/pzHO6R2nO7ulDkuPMRV61iTJ2yG4c71CFAli8KPX85czq9AswpJWzOx2/fSroMenPst9NBnsszjA69LxAE1/AAa2L8mn6f/Ju7OXK5yU6bmnMqiJerXD8Cgql7OMR/BSEjshde2/462jko3TyGyrfNZ1pJYCrdCrW60giKnIvMexO2MlQfy6dg4G1E76J2qSGBhxaSWUyvf5JSu0nDv7E1i41to1rDv4klIuL0zqLUEZjt6URLk4oiQeT1s89GGadFnxoiEk9AYz1m48KlWoB/ZIatZBgN1sdCKlE2NM5VNjaIk4Jjdg0YIrh5j6VSRywci312vxW7UcQPPz6Ew8C6zz9JanfKJ/arzPrGi6jqrrExRp6ukmYlhlJ+aAcLu83OSl+o49/PrbN0wvBDzyi/ClMpVH8FqUJgr551YES4QXUtC0dZvqOjJl7QnI9Eufab8uMksrI0GfP+eIH8Sr702mJOGewo9RYqi929l225wp/VEUXnfSwR2Dh8rNSAwNu/QnKwVstzC1yQmUMOnkb//glNgVNuQV8dRaEyjyzVNKS4bPa0cAJWryzGJ1VRCBHKg7pC/dP87UO9Ck5dXlgYlmLicBNIwxvIH7DQOmOUrB1HxB7bqxcsznvibqXdGB4e2V1C0QmBVKbxvQoZ9T/tcwqkD+luz+1BLi6Yd4G6wgkYjQD1LSMHi4pEJ3mIWf8VbRdRaSkJH6iuIXwm+1yuu5H1ZbYc9Ff45pc+VApxLNKS3aHp3bnINJicH/zawQy7l1dbXyXKoe1ORS4aRgVzQHzbeSk2xBsszqB7qS40yQ4KmIo0p7MZeRyXODv4eWGUo7M5WKfP6qtynHRjR9b/+j1mI6DZYIrtjFHRtWEMU6RuVELqUVqfF6Wpa/Im24seNkjCsmSfRVO1GjrDQWAgz7qNIaEM/WOEf1Sg6NR8aBKgVmOjbTY9rjZs2NaP7rAmRZrli6FZlLc/aiGuS0rPQOpHqAwtQSY7JhCxbgZFtlJm1/pVUoM16xil4cWQxnsHi5/RnfggNdQWc1wWjEbp5e4eIH3RB2kcVSlbn/vg0IafE6Erw1uRsszTiONgqyLGASolfCOSktVNzeoG+VwEOssA41kdF513BJCsTgfSe/qjVdxXYoVdXlrGhIYnx+Eseuimlzar/4J95hLux0SQbr62Om2RucnVFpE+BU7Va28axQpDHUoF1lH+Wr8iS24soiogDnS+19jFtvmaqCXGQ6xjK/2nHN2edFtkR8MBvFPqcIMCQL/m6lcToJ0y5C4CHBMKsoLmQbEPfXMpfaheiFykR9OjY2shCM01Tck0DCFyGX1dgDshXIxNyTrP8SX161zoZtVjaO1Kr+ax4ExNokHASNZMNN5pTfW+it2j2E9Ynq217aol/DebT1vsRe7kfEsG0iCZZYJ2XjCeoEC6zRt4rpu7YRilXf3nchT8f1GkBl1fxcOEbPV3zCrOzCMVREcaQsLX/GWrmP4kHyydF3otZ5p7VH+D0pOOZMBEdxfp3wOeVAVoSG2jqzXZK1Czihmfq1uq+cVOtuuZlZICSn200BeRBbzJWqcNwH0Hx6xPgS6m57w5wEUei8bQ8U77xThP09DqkgfwD5JlZqeHNtLU4FJCIULTw5asbsGh5jJ/88iPv6OrZ6JozMU04KfyoJMcfhD+bldagVunZXLeOK7YFzoH/0LagqI4BhO+b+YJyqeGUgeYp2PJ8ICyYPWhrAHQdDzF3aMIIz0odXOpy7pFToTmYmDkQPl3xz+trR9leWFpdM6pvx8S4cqkz0ypld9rs39wXMpW9IZh0JITgMKJANH1vvAW1SQ9yub74FBwIaQ8Bpywx1ricMkD8BHt860h4xoDwoUXpn3lPQk2bGRFId9azPrkOBSqXdC137EsYdDs7WOutGMWCnpRZ2Mo2oDRHPoYQCryRt4zMm/Df2wUb1okOKpU4We5+A9u5vAnNhLDqMIe0qT0IfDcv+MByYM0FEOwgyJnPMplA3Tess2y+tLNGDixH6oFsIxsIh/dUkK3OjVhBxE5kbsTDUXFTfKjRB3nFRWhbADz+Ctpz+GJtQXQx9XXSf/ZdTWoZ6n7y9tt+4I6MLlyhHQ/8jzkgI34LXi98tMLcbevPNdwzwx/upaxuFJL+aRba0yjtXG80VSPXgkdWthybALF/Blqng7o5V/+zbU09rc8KSMk9UVNYZUSDKImv2t8MawMnA4dqjKgL9j/13PbylK/991MOCefl8pQwdjtIAVJTfvgeixK1MaPf0/g/uXnNAy6d3h5btzGXTOr7s7gyuEmrnbPUyBtlzKpsHbzyjf5es/jH3GQm15rpXo/cwYfn9vYrJpKRYvroAvI/PQCX6jtuWHtOy3pHx0rmrcbg6Z9NS40+LyzdEasongPHgWcimyZg2YolZ6HSjTSIs74Dz6KY8p0heXYtLjWCQ4HzjC0GOfUa6MN+HUXeMXqRHgMkbcg67xDHsja9Q5hnR8gRQ+gT2H9yWaRgGhxeQgMDWD7/azL0Hi3OgtUK8b2EK/Bop6zsuxLicklbHOReKQfOaGSpgU+DNZ6/9CRsVA4wGZUTghvw5H4b6tUPy0qapy0YRuszY+4Agstz8K30rTNNTo3ZwSSnhzH1ucIrNDOz6+eraGmR2KmILtr08lWAaxOsSIRYqCPsnOyPIhxUTunTs8YULfHBM18BIcN1ZDmXQyRrKbDljqvWE2ZxWx72pM9cRKvpFbdtSbfzbd4UYPE2h/jT2zMIii3hDv5OAemqGNJ7s+K/Im68vflt4qXE8BrZJXAH2J5RgF/+uQbk+CecGhWhAxKj/X08M6K4ubkhz/Lzf3xx1jYSosWEXHhBtwHzBRneR70O4gUCwgoLZ9nBp3I+t3fZcASkPAbpJgQcJLtmfKx1jAgSvU41V+ntK/G6k3VPxRRN2ykjYJGFP2z3c1cYV4LiTVXxqaaaU29rcAes6SWT4LgwtHwJtht7kYzD43aC+yeKqjMxREv2RjtjglchXbqXmGbXodlCi1WL0YCL+oJN13btw+wsowd/5k44dd9X2HuujtTqtrfsj+n/x8Ht57MgNEEx1X2SD2bDXxARAzQm2o4sJ8gW+CtfR6bWqPu80qaG+QGGmMDTSIFa4+t/uLouHGokLNtdm9xuC2DOLFiTAxCi+lsk1xvwu9hVpnDYjNXqwwmg32vxko8majIm5FGJMdlkt3AHNlDii8zwfS0q42+rqJYhRTtxLZ9amVkCEFuv2zZRUUZuO51hoZM2x7djCvZJ+SKpcLU22nJZnAxTFE11LwFo/c+IKKSeBUcBQtKgI96h2GufkQbikFAU3oTPFE8llz99nfYfHLp/V6G1GxhofXTqpnei8mgGr6CQvSIvsYBnQivxIE+AmbtLLqGn9Yju0C+VIAJ5eRKsHMem8iLnnBll6bSWJXvAt4lDJuKvAR6uJr0vFf44mWWY0ZaLD2Nf7KCYq1avPh1FRQMj7rHU48vKm6oPgQAgOlKTD0vdifAe6h6KccXIMe39GaRuHdyosNzww1nermVC3aB2Wt8zTgQ9GhZyWk91gapTLCZRmdccG4Ua4kcfUpwLUXbYBaCS7z8tVULqaR7TMecBBLWgRnpoff+TJpe98Lq//JwongGHmdVsUuHAVhi5nWMc5jp/O3jj/CFEvHCRmSzpkGZYthfHWN5E0yhwmOCerPCRX8PIAUOYgvWcFf6tZfBXzn5yxG4EVWdk42rjqoHI0Ld0WGhhjkn4F+Zz9iYqmvKl6hdS4EtgrLW19gl6ioXVLWTlSTPUu1KrQthwPju1yvJGYIuZmzrlg9GTVg372ER8/E6RSTzKgJV6toeWabIqN1dFg8sW3ObO2KiSDJT2nGRDn0lEBAspNcasAYli100pU4WWCOUBRGTpXUue2N0YT33B50UEoI4c4NDVJyX2ZoaZqXJi9/XhT6kUz7PqoSmyrg5VKXuHcjRP/7L33y6TjT9iJnCz6DAe8mcmu3P+svrNCw9S02OY0s2QBg4+b6odJ1eYIvqb0rwzdPsXs+gucHLkt3DHYWp7/acx53u2YUJzF0ygdCYC9RQd+NoTi4htpslPV3uTi9E6C1FMbjXtjSd4E7zTQS04bsj5Mk91rFj9oXBSB5Jm2N5EbG1tdJ4YPLH4ocjuzEE0oTHL+pssEDlF9Xbc2IwUwnHnFT1K/X2RjbxzM+D8aPEZZO87ixCLqKwR3yvsYoSKncV2S6l7xcLWJ7EP1qxmeAjJmQhbsVJN17I+B3JIG670VvyJ+hL8hAEnqMXBOpe4EsA+QwvGhv/dMO1Kog3qNWokVOLnUqViQY74ZZWCucLWWlVr5swNKfUXlVzhahQgJQLBIHerAkVosCy/DAbztpECq3kwoHLqPgH+glMVkMgK9UYBnCjSE2sRNhZxy/d4ETUtLx96PO9SWN25pnd+OBdHgHVwNCDhfy8Vf9qqlvW8SRKIauDZNRwHOQcX6TTV2R5KW1SJEjmmR0tb/tzo4SEIy5KVUIFrj6NTQyNPGwRELyA0q2S2boNttykak/B5AC9ouDU6ieskGuR25UZjvsNVYRrM0c3TKAbsYg1Sj3g1QtDcLhrBFgFzQe7Qwn/mT7bYMgltS7hVuKb07t4JRG1e9HRO4ktxg7p1QvzatAcOHutG+eLecw7+Nr5EC6jLlhTsmyr5/U/sAX1RjmY6oLQ3iBbvRDfMgInOZq4wIh0TSj6T+1xNO3pBKP0e5QuD2wvMwgI5dmhmJkOvNCgd1klMgQwuWS0j8odce4oA/Hp2AVzTWnkGsMKoBqabVD487ZBFpZ3bDLICCJvMfpGoDk5GzmHvm//4dUlzpVehRwRHAxhbNFuZfzcuhTqHW9FYI40k/uy24T45ER37TxylXcLjmbJuKHp/Z+IZSvv8EdmBx9XsotJ1dzkLopNSGIux+QXqCN+kKUkIt93vXm6BS76LQSNbeOpqj3jiKrdKZDpjfj6/f6SD/9kXNx1U0EWX884gy2yVuP2m7lSJnTjTALiCKTUArijQccKNe3MSTyLhcud+MgH28lpv7mXpZup2AtEkpOst5vJmCjxtImzgcwjr0Kdg+uNbH8uKvsFO0bRE9jcPQXIuvzPRtNYhs8qny1WjSXspWnnqRD1FIzeMLdxsa7HGt4QcRta1eadfad1KECVS47LkfleWFiiC138ges5rs9eex6JUz6jm6Q1PoB5Kev/TGOPVW1+nvtPl1nuLtWobpxjwHh0dvu5LxkBfIwplGx2AMCosB7ZxOPXurQ9cM1XuCKzu6GRi6AfyiQAw+U8MFFMcopL6oLMA9qxkWda7WUP+mjMgq59fbVYjBbXETH9SYjqehSIbnx40lTGiNmBdaXvyDTb6e23sIJzmkyYxXMSJApVhGifHeTAh4N6IInx8SYo0T/QQhW0Vv9xUATs/eBTtYlZ3MAnIWhqhXrObRVdDwL5kAYuASyfFX16BIkB7g+8cLIvQ+u3iijA9KbSmcCfhULSg0GziDlrf4mpthAQtnWnPpySgntbNOBQFl9Dz/J0h7kDJEuxvgYOXphQeFd2PQ7kSUgiL5q++egy0OzZ4L6DmeQKzsZOjzmjqJvhrj6GlHLug+2cKWcyFRhlRE5TP8T+2fLGwQylmYYurg7ZGpNOA06YT2XoyHKzpalNRRYdfwtZ/VaKXSXSeNlEXog49JTUy74RMSg7Y7FBI+NOYYYEdkQSXnKdFycq5mTPYOy6cSto/+f73bNjPxxfPuIcNu+2bJ6iiy+rjzIyqFOph4KL8ASeUHXTNhVIcIQe4nroy1CXNw0+0OeTIaROITdShLpTJxiHhKo4IW2zoU8AzzZHFkzoIYrc5ZSUFiuCkD5nlpfssJZUEyxQcCivpwldbN9aDKiKeJeegNA6L07E42NGLJKEK2YWXluRaAE0+YucguwS8vBnjRSlD9Cj05+2nvqNlW+6HQ/oNt2LC3/I87zsM2XgLO/T1wMIPaWB1FEt7aTdI/OkSkT9+BlIQ9s5TeIY3Df+NRH+BcnRfkePajq+fFTcElLnOxWpJct+qTjBYq2xjeJn+iEFvYxlVZ/jdJszMhKoF/1WkrQWEGed7vrK+C7hJYszakOgO+68yyDsRGfVBVRUBk5wIgnGW81VLziAH4g609sFFaW5RBxhIr7ETIPNXGuClTUM0xq3DSyAYPWYQk6+j4abokU1iUTAOCFTNCvxVscAIWgEAyM6gLyKiI15uYi9HbcqszPjzyZRlUpFwxb9/vh9l5F6adiomRE9mmMzOQQwEHc50JaCmy6nJn5CnJtTmxde/4e1Xp6lFEZTo2i3bcQ6y7eDkGlaTVjmt2BlbS2lkmm87cBtvtPhmgHPoTZp2kMHTIwlKvT48iVayfOAwdV3aeksMye8U8HQGk/5hMnzAVh6oQaBxhzbRyAcr1/Pk8Vat1CLYDApZrMcs87uUS8WresRQWvAAEGwyHWYijBzvmN40rarcYrylgTOixNxqRio/5nEKHXQI+eKeyhWS9WuKzkALscIEvgwzn3yRx+MCP1btqd3j72TOvI1lfMvI13FCAWnzMOBzPE5/5Vm2mudXAbpzc6awqrT/5cT+kUiniafMNU9DKlm9pPTgOdzTcM1oWt9vZWQLrC0jz2G2D2s3qEVz9Wl1eHw7Ug+d5YINlwkkojYwN4H5yLNQrMet/3+jFRIAkK+3WZBjF6B835QwybfAi60gkxrzqM9OHHMqEuvNzrwznaPa/xM87hOERJOfMNWIHLAh1a08wmS/geneXMw5Li9G8SAKFm/f8+KQDmRxtMk2Dx0VkfazEy8a2orAC+4rbVoTvUazTFoiKfRxplS6W4+XxMjsEvz2H5KO9oyisRD2+OD+QNzBsjJkCNYqIk8RGLfFxUShbP2hPC4lY65c+u7wiRnSBZe2AZq4fwrmkyih450n15IW/mmnAyWFjWSTfmnk4d+XjwUQgyTXdsyUQx5ml66tsgjynbP5eeBR4YUvQQNZP1wwaNRB5CHAIDAztErqQrNsgmc51Gj7/Xt4v3e3VJ1wRIqC4LY5ybxhaRK8quUiG+I/bkG9vQo4/bkaeAN8ua1qadDIAPblW5XN2H/UyZFV67tOJagZvnnwbmXMvWDX3n+eh157bnaGOO3RiUVHOtussZnH7lKZuIT9JntbRbPWxqTu7QDH59Msn0dUjruDj3a1wk8E2g6TF5HGQ7Ku3XA1s/gGgwmgvH685AddL/r5MhF+hejSjYrCAFos76ts+FxnkbyJpq3JxmltrZ4zPspBMLRFzmZb/7V64ZCez1xiHIW3AigjjtEY5ubV2GyugR3IRnTrLgNQUGPovuKxgkxtJmRl9adtO8jMXxSV9Z1P5bqGACkfbpEHUfd3CKydp0yUfMMfzl4iiIrYr1h8LlUeWIlD8Mw0n9D2Aex+0oc+P+7klbO+k44NdrCToyEUELy8gAxJkBtxM5e5pxOd0jC0RS3DtSg3NUwGvOaHnOAIYxtV11hABWYDCF+WyWzH152BXjOBiYBfAanhpNtQ2WZTWOD2UD4Ul+gtvEI9QURMbnfkMzpYZZ24ZwFcHXLnJ5IjbXT4M5W9bkjX/1G6ucAqRIVUC3+W5LMNc73vbFnEapnW2SXYSXA8bTgTFk4zK4VU/IkEk1d7zXUXrr7i5r+Bt0tnUsUvSJoXIfQroQdmrnTPjqhNqAtGMACIvyUhNsPyP7QIEkixdFLfltbYRV8YoxqBirLPJaty3GFFWpaKlYsa04CVijRGyt1lva72/+TREfqNloeVaAicZkyQmzCS38MrFIMuuO8gr5QuBjpmgQ6gCEcf7M3sA6v9292NbEjkOpvD2A28LTvyk8Pk0vErBN4KSoi7s8G9oDPgmSvMlfFmG4iFMH9z/IbJfMOfimL33IW7xfLeQ8hIui7iFeL+Y8MiK4SahHo8mMuD3GairapcQ9Yb95zRMuSMrR5gluD+zjMQfQ6rxrKs/jI/JUHMpwgS7KU0PIZClRx4MrKqC82GMX8wRTreua8bpXXPY4h6ljDi1iYu3P//8rCW2NRghF8trs1J5xPGSsH3CPwmhVQgQiXxEYXbvUzc7CLWyqS70sd2rdH0PsSUs08TSGcodiNFRF420KKYkhp9VMpuV8U1jR/EtxMYo/MyI+IfDCYvyteNPlaoKf+nwWvunmqMcGINjncRgRqfouRfB+uJtStua6xfdjZ1dxuj/hOw7VqqQhYXAwM04bpY5vmOCZkqHswvhb+o2JHbi+/VQV+dGbaejLQjW6eV2oTQVMe0S/mbY8E/KSex7eAyMlSNUUKIwZY3IXHWH0GwR9OEL8gbezSi636L/T82smYV2mYgLZtmSbi9dYgjbLwzbRyzI6J5Q+HO6RA0d0HOUKSZfXak20bnR7xHD3mTICuSgWM3UuCYT7aLBUh3sjKQxaEanYX9yboOJkws6rWn+G7DJqeruYX84Iz4q63WOXQA7pU+4rqvFZcEj5AkxFnZ6Epqx1wsrzg+vM6H7goF+dK7+aRsA/AS9V6kIUQn53cq/oOPwSIM1DYcDezBBksVf/eUXXkjLVbzbKIsgT2uDPO7r4uj0A+eQKzRqkCWkW6w+Ao77GcnNa0VKYBJk/F7LQ6a3zIR1gKlxsUwBlLZU+iC0xaMlHU1iUyCAHwAJGxLZwkrNvzSeadX7erof/Hz/gbILgisGOBeqpWugWVqipmuxUFyX2jEVuVky+EF8OALmrmT3Tp83Qajsp4UAGQh1XoFyghaiOJwBsD5me7Gq+5XGRNMsMM4tXcm0QbMb/K1X7Yk3Lxi9sC2XUsr7CySA5y2sbS0dz/lKWVomgnhC0/6YDZ97dvcTK3MpSss88UEAOk1YpoQrw3x0G7brk2BtBZiTA1ItdP7w0XaWFoTo4XZhdJm7+9ubae2K+N7lgwKLZPt2JZCQL//dSaA/wVI9+lapOTx9K1InNqMTIdj1zV2iB6LFja73ZEI7U3E7jRvby5qbs3tJS0juWFA289ltHuocML2Y4p7iK4oUBEPBeTxZ9TpQQQRAgjmGmbiMejgo/Hp6E2HITvJxOb1Wk4BVDhr4AYfrHhVScrqS/8K4CoqQtESzBSWLjEcoVCdzmTuVYFzAgo81Bji0qnji8mw57mGxJhgRTavNbWZh3V3lw/yrvJcRJ1rOe1ZLYSoN3Tf8f6z8JOzSexaCCpNtiefYKXZS9muZun7T7cAk2Rq5Sm4EuVpiFQlp3A5LpQVgITxMtjPpebhmetVlDFtssCJqkE3u2GDbzLA/qtsnBuyDFxypRWP2t3vxMNiGSwIwhYcVme+1sJyrOfxa8CKwjM7rGbebdSxo8YepCG0K/iN/gK/TcYLAOJbz9GzsJuiQY1Vz7sBgvHh68aC4OP28bqyrP+croSltCVTTDtQoi1vbwLUVQtca5Nw9G3BdR5HExZYH44+RU+QGrU2mz6RtQCxwzDRy4zfxfmXR/tfEw3+3wishGrOGEm7O1YwCG11exwDBaCvx1qLhPbFSc4nKcqL+WyaphIPy5MzNKMbw/EQeH9VDhlqpkjF7U7oae+bX8CFTn3axOX38ZrtSxSmgPUohi9Zg5zA7uPaN9MGe8rFk+3wRTnOsCY3HM/bLW48PW4tPI22I2m+3ruC9nAD6EOOxt7p4Znz+H6qoiDfRPMYlv1cVWpUwh7keiU7UW1UcNvBcvZ2vKn1YmbgyvGVWNfG2m100ikYyRxghtQZyWkU/OG+AUlAiICfJ96RvTEbiChnHsE1SH+UI2uV0U5uKTxUOeIW10htyByeNzNgqulDcSWbHBSFyHPwgaoTol6phJnD9SZLGjty2M7bDR9par3rwO8u/q9Tbf6ifnWfsG0KhLJdAcxdo4ZXbYcHlOrdZSalQhKn3KCoYYZR7RG4Ux5xiFCXx0ytNlfQeb4+4NBgJ9e+MokdXS2f4M9BUmxWc2H+ZRm9yWnNYKXe4xIimezSuWmLqDaLeu0KQmz6PvGJEMksYu815BLbHlHnwQa6VeMv26SGF0wvyiIB6QnfZE/H6uqeKG9yrWpiv+DgXI2BZx8pXbEaKXOf9xQD5uByx7TBPmJFp6hF6/jc0LAo3yqwpt0QFEAR4O3tr3eCSTUidL1zHYhKPxNWjmAozbo2MWE0RdbHFMCxIwPprNuAtmq2ny6oIRT9wH31P14qtGwwhTRGubpcwVySYtJyGifad6DQyq9M8QOqlHHcOU5HTZlCBoDtsW9PVMOja9mTl2ubad3WkOiNts9Jk9+3VzPJLHponGAqMIYT+Htj+7sjak+g0TKUbIIBMDk0WrRZ56VGvZzEhkeh+9bYypVEKUrmIkwF9wDgEVR8l9R7pr/TMb9HTdgKqJG9VK8RUob4003RAxoNZOZx2QRtt6HF6hmh2f8P0t+RD/aSn99OPaDXnYHrrcda1bwo/gjQnnngGWIy5CTtw7pxcain1AzW08JV6GzhrEgCeg+9pSykLfKQToF8Ww7L9kahD2lrMnAosxHz0UyvwlD3tIUNVKU4C2YWhWSJiQzrh8Ywv5qQ3r8OrOJHWYXPI0T5ZGOrKklvuYrausA/uencs+p0jy2R0hW8tC9FqL29BIYbtmkACytO/a9XQq3A4FOuU4B/enQObIwn9ld5JSAbLm5nxErT8jCbHrzHfpWMeUUAEAgIIgzvqhfWMyRwGnc4NDjD09qMfh9QD8PXPBaCEguZ2DlZSuGa9k1BnobMQXRIcEA7oud/9OQP/r6voxkD/h5I3OIyjzJCznzq2m5/XmZDZBsIKcGKwOTCJyXy04m+c3egXqKDzsBiXXwkzJ/ykv5Ql77h1Y0KiDbQG1X4fWuUM4ZzYvDc9lFFs8vP5y7HAdKPBZoxIVwbmNGC2dWzackK2u1nubCQ/KuWbfI2HGPR5M9HmlLS2YdCK5E39xOzjLmAMDfyP/VdIG/LUe4MSEyzHyAZB8jC9wqHPnh4mVL2kORqQGAyRhtwkBQwJVFMKqc6Q4Kyn48NCaZIolJvO5cCmzdG4TvJWOerWx8aCXJTTsTK5H08DfPhJTRKaRZIa9RDVJbwW0Xw8nRpt/7FR3YB2ibNdpCKX3w78Zo6/3PN7SVQzVMXrf/T0ORZuY+IHGdH2LuhAkHJKdNXbJggISIYbzMJRl03M2arzh+P/iTedu9M5VLSz9nY+jJAAqYZ9Vup3K6zXLP+1rFil4eZwL1D9rfRwW2xjM/F1FSDeAnUNxFluIFd7KPqDtLbaLSj0m17LZ5+1cTy/vWRqXFAV8leCaT1TGqFkCswjQu91PDaS7qupE0n6V2qKdEI55kyereAoRxpUpBonfOMT6YtsaE8sGXp8Q+w8VFbKQF+BFoP5wwVXMZkNJcxudWY8loT+uioMHZR55nJZWYhaeWBvlEQu0BlajVeXRaFCMaUlD+HaWTsd0ACzhm8ntsoBNPbZpvPZmdaBs+MCUEKbGsMtdQGyz73IbYLdzy3j44/D5/lGSbFuCJNhZBJ1H8ve2h5agBRIPdaU+8SK7Q1vagIU4OmTjc2lCzR15UtDvR4/Sy52xqMPkINdib1tv+K1mOxVFXe2CcD9/oXm0aiEj2ZVHohEqIBQxMKLQUZmVptdKYk0pLxM82fl15Oeaajp41a9ea9d6dgYZ7NCw8PbRM9m9s5wUT/l9N7HUPWUG6ms8aNwHXlzl9fTtw7N21TguGLkhsW+0onLKg83kckHn6PXESioe6zG0lEaTgtETcx9Z0/vefRbUCMfMV5PAcDKxbXrSydhBIiGlT0R/o3jqRqKhjGtO21aKWCD5uzCgmaEzFnqu1nOVvjMKJVqEgJjAtpPTKTJJIQpB6spkqyxmzSriXkHAFwA4C+aF9uRmfIhV5v8RxlkZuD3a7RNi6QCRg/IBT/+YJ5hr1U/QKdgjslatPMu1o0H02nXUP78rx0BerMUPMvFog63+PpE0ti8GQc+diLxB2pi2P3qAkTLjimkfAyAInWRHsLO43uHIAI+MyeaGHpm4c/92DxcqMD5srMTvsv6Mc4m7TrgNm6tdTfS0mM6t86PTaheoyf3TbxNhWDdrD/DyF7QD5A+V7yV+FOFqaY7DgL8hOkEYLOzc2+L2ofrHdW9iJUxdNsvGJKz6jxHKZJqN1jHeStnh67L0L48BjS1tDErCSjnH6aS/KkDMjNxytYlp0924pNHGDTQzYWLX/DeULtEAFw14C026vIlEn2fWpDDWkG1C0kJ+7e71Rds3fs0MLmnxTTZcDev9AqMaAkGbSchfob+DJeJVOs2Rz+rfAotpYJxoPRt9a8kgp9a2ZM/mBBzMws/5zjarqDU2M67nszbNIqGoBSE/1wZ2sTbk/rx84/cpQhcmb7TZG4YqYIYm62pt9joiSumedyzIKtktdt9J5Te6ILzHBhlYCZHeQGHWts/Q+vmI8+gW/ewFp90lBVnbCXOTuVwqCMMDxCr73qm2/YgRddnDrwR8fBjgEASYhW5aD9Xfv+4DBzDetnRWBK1NMLcDf2ws/dnvHo8OEqPQ1j8PGxDjtI+jBFMleJ6DGh+kwmvnNgI0tEHXal29kzvZo3bW+kuhSXSnbvaWa57NnbuUCJU81tZOlZjECRYISUpWRxGOYRCtO5NdA8GE0BwLID1/BuvsvnWk2y3IdyYtMjo4EqYcshn5qksZ8YPDalzm8sveG1ewV3Qe/aGwnbfwv4X5VJO5iBy1v2HMYXlqXIawI3AfIdANKI/RJF/a7mRnoAlAi1LXLRyo/NTUJA4p30KyV2MSwBlEAQAmNOO8wvKtIAl+HVvby5Un3/hrVBzf1r8UXvgtEl0r69HZYaf0HiqtiQULYKhlg0EajsZSXBsC4pQeCEAjN5rEoDpKaqPezsHihiDs70C/NCbU0mddw5hf60QlIcTyEu+GfTaCujRO7pXey6BLU+60z5L/ZNW0EUaY6SzAhs0AzuOZRtfub/oG6OQ89M7V5JnobdVm+gbxT7ht7pGQOPWKSqUsXx+jTAqoPFJQ41y0p6rX0jGo2p/b/hC6oGzAcukvoewD1UGwququuxTCVUaiqgeYSTYw5PlbdTOJJKq3AkGlivSfr1T/H70oxcoBY4alwhwHMR0OyUwBMPz7jd8/za/nnt79vx1oWfc31KtprOSjhLWqHcJR+GmXAqXpJYZ+B5GRKDQ/gK6VvcuKk8zT6Ds5+pxtfKlUCnGDja/mFaGJ5KixVuriXH/GWjjV71zLtaph6yC1ZeHCm/NioHvyetxs4ikSTXqLF4QOOlp3sfbcycRbzaSJQRArPjAGDhzHaZRkqSVzF6PeE+7glGkJb8W6nzhjGf+Nsx8kuF1QTGW3r3uJ3pa6Sc+8dRRqc0V8wzoY+/Gz1S35xSPJbjifMuR4Hf14wQPB6Owuw6wl0qRQP9wufR7amIovMDEW9sH5Q8IDtY7NWr1k/nmMJLp/7AZZC2AnvLYenwQjWe947h9rtP/tweCPexm+6a+LcHtPc3N3A56na2UTkWHA6qb621DiXUO6CowNy++xopLlvCqC7ztUAAd0ljFJG7B5P+KilkMEZWiP1SBIXww04VOZtY8BgMmFM0k6eSkVULkyYcy6L/B7WNj+DgmSW11JE8S3WExr31Y65AoajmnXIg+TogWpWWF5dRfIah3bYQIinwYetquIKz3w0st5/z2LiBB8rFjYkr5jTMbYffcnLtRcmkOlK6t0NdOilfmWlG+wJEA3lpkcKH/+G0SRLz1skupJ+fX/nNwcrTa8iEskXjWYU3TW34TUDPbG9BSwCsqeyI9zTpWZIwSFJoDpW1GlYycnI8GBoO2mwqrCCis9nuBgr53hRj772d31a2fme9Crl5GVJlf0tge/qmpzgEnwNoUZmHCyACjK1bhEVsaehbPJTsd7mpo0XVgWx9x0lQtGrV0+9VBcALQrAkZ2N51RIzlGHf5cLFjGUpB+176vhqu1l1K2oLcbQav+A/rVn1vhMCxahUeI3F/ZFKy+4MV5Cr+XZKurw6ER0hJg6XYmODiPL310oBH5lAMal3cVHL3zMYbbus9C6Qf6ylR+GoR9wBBZ+it2aplOo4MQg3Re4IBqWUiPfOs2phZX1TGV0Z4fXBtoLr/DiyXc3PdX3vlwipCrxgQCaktjdRjkMCX0JGDX4IeURTPaL75KDPNMoDoXgbAELGNrmDNoOoUK+SHKz2EkJ13rLjj8mFGD273EFNvKuWAxvtb16ksFJ9nLe1dmSQg1UXrEzx+QJRWOWfFvGGhqBdIhX3vFfsHDQeco4dIRgH99p31LCYX6QXqn+CgcDeuowDxQSgHsQxL44cIwGjRFpMKRrPJXuBduFWQ8oKVydxfy2dPCTVPrRqFt17wLZ55z4P2XPqjyzN67ymSZ3wsvf+gH2oYFseeHBAwcplp/jyPKp42YOnTGy1KXQa0zhq/R2UjCUUsqJ0hzxw61nmZM+67eXFacA8/HySKI0zji1TEBQ4Kyn7HxVhWoUyySO9g/6YZijHW+bt1X99T8I1g/eex+sZi+1n8hLWy4o42YYjetHrR6jSI8eKD8GToxzsLnm3lTnhZpH+crTVD544fduk9kXwWbX/jKauGREC/2qajjty9P8+snumlq9R1kR8dj8Skz15CBQNp7ar99GzpSyecH3ZHpohTqtWu6+gYMzVX4kTTAn+vY3lkE7Cv9VusM2cb/W2QYRnq6dQD/UKPAUn1SI5Hrs2vvfG63q82UIlMhBG7ZRD6kGRUAixhRpsVXFa+s12tGn/qE0BbJPi81mmDK6eGBZnTKztQw17JVAFNk/mDyW6hrGjeFab9JhWZ9li6wQVMowky62JhGZUbhG57Pph8y5gQOYIqMhqgN3GvBtpfObiWjUfdFdUvwLbRPtJpm7QAyyA78LKINdThfJbTmBEvn9mU3tAJqSiH4nLchz4E2PRlBz/3mo8rNeFDxJ3P3QCjEaj+SoP25DIV0PMlgFSCm9vf8tYJsTDrft/rihtESPNblxhYLDgcxK8EJ0M/Nlgrw4dKHtT0m6TBmNqb8Ppl9ID2h2wZPfsfPcA8qoWcJ+bcO5t6B1ztHhtN0fT7m4Ze9t5stRjnXUwf8Nadr9xH7ysZKA5XQ6lIGcIkilCGqk1NXVb1IZ1Y8s592JX7/3/LHM+bRTcxjkojJoxMnC0fhdB049dxly/Pq/ikufpOXevnJh8NOcUu59EKfot81nPuz2DBLLIUlA2/nzglIqiM8Nwo+5BIgbmPSQz9Z3IyruL0Xb1Rgd8uYELtQbOSPJl/3tX5Gb/0DRBnV4FB1TAhunZERqaYKVRLJfX+0GMqGKu7CfdVZ97z4e1dyZHpuc9fPO7eK1evRRmpCJedLjopQTu1UL9IldF5KNjofTM1Ga8ITyS9J3wEC5dLSwchRjqJItqM53/EN9zrs54l4n5hOtpf9hXJc9wnCtGU1Ky6FWoL+XkXYIWfXcdAlA4p8bkNlpX++Jk2OMSekJovpJLGXLemR1/IUrDeEZSadCB+2YMwhQx4raLF0JmnFmvI8KT/rsaW0aeoFl5Q/HusJku/dXRENGV+uC2YMeNWx7hw/gK0ktyBOmJqwXFNTWEY41UHu0+J8iaRN6pCnveVzOyNq0Z3SC4Bj79vHGTl8t37ItN5e6Cuid8j9UUOXggbSneWCfhmfAl1GnFp4PMHJC19+zSwHdI0eLAaP19t3ENJXUy1NmSDTFoBUQ5koLafJxS5DNOyt2kKyKOPxc5AGQTd5ejIagFyuiQyL8lgNvpi9UEWsA+2HLQLHTpEiPxS6RtkXnbBlN83ZGf0eo5Lb60lOTnyGRCq09JqNfxGd8sYx0KN0JiZdZzgDIriscNV2mbjkUqHHUDod7pmTRIQpakKv8VBhTnwaPZ4Go2XfNphXyC909WCgpEIEiiVeg+NQ4NUL8WzmXdqh7wqf6X2l1K/l+smVXmT0yxlHd7q46EGTYPyTe/YzzYv9gzIM68d01CrGZJHRtKg9cAroTIdH4N09WLDXsICRs+5ts1g8yI+cr2Z7M3juz+yxYZVN7rZ7pR08cAYnjo8k7b2V8BgkMShq8gG/dSq2sVyXpYILKPvmkCGPr5KDfg5tGyNnU/xaZ5hKcFlQL3FOfrIvjgKkOT9XSQzrUKuHR4wdPHoKEy32ujNzXuVfqWTYUjKBPv6rZNv1D5u3GEy/GIlty7H8G92FcCRwjQp7dVdcswQCqYuhvVal9GKTiqo3EPmz4dOgCNTQ2ReYWKAWuwGytVMCWX8ZSUFU1Llox0wTZaYjWsBpsFBYf2lT8ngNwoeG/04tw3UMb/vos0C0Pu0GqARkCPRNQgFD1NEBYj5v7rWPwzAHnXvXUVykGzejbwgTH8IOiWyREW9Af80Q0kIQ/aM6jiFIuNasXC4Em7uQuQdE8ADKf+JxPZoHvhcUpiYWcNgwTBQfdz7ew7li2GTsQvDOcCCjPJkp2bCyYhoR8IsSV50jM+CK4ZOMbaRN+YhyVfPY+9ovGLOAorh2QNMr1haRQ3eWXAXeqL2gxM0qGjDUhZlnnVudISoFe3/Jype3eJMIEULsMRwUL1qW6YjyPq4I6S9YGL8qrK/2t4V9u7CCBi9chb6uDs93BmGyNFzqANpNPvFg/BiiEDIVhEW3AvPz1oz0o0d1xHg/QqhG6Ytgxtcn0MLc4dLE0JacTV1qrl6UkZTqWrhkod2F0XCLI3py56qF5uga4fTtDQdEYNA457uIbVuBrNS43QGi6rwaIkIY/n6mDHZwjHARaaIr25bcM0TzfOIgXuGCwoX8FsQRZT2TmJgxTnNjerKk5i2Z4Qby74xbgSCgiTh+DOAxWrZbB16BscB+bYov3NhFlSWo87dyiJMYU/1hL/fNMx+aH7H2fSdoGdaISdzf8QPZeb0eBLOBqlEpYPctMhI9D6qxbUoxYcuzj65PA7UmMllEHivTk879HVIP/HMTPwSg7u7emLImg+goSzg0prZhSx/P03YGM6oeTQIB/alC26p7GS9kFz4n8RdafJ+pXu84hOjTS2p5uIsh2FlVEqmPbaZNHwwklNpgQmQnTUGZ+XmfXrjKK3Q3H+5ftKEv0+9KO+ZIOIQqSVHkB7T0emF3gC2K4Cl9eemZ7WfORxNvQzwidyrKDlm2GGY319ORq11x8Gj3RZsLFWFb/SYabDi235U8aHPn+Of8OPB02PX6G8gmiHErUDgfL5Wh1dwz/Ql86bNRPFeyyi3FibJUUV1RHlyLGzRK1t69ll2NGCXTYG7hZhGBtckvCYelb5WwQKtJdDYFyqPQJ8OhUUe61jb7n1i4gWDGNIp5FVTeBT6QqPzFLjRHT+z8GWV8KWR675OMooGsv3wn9XLB2ag6mFWbPCl3a5qMb70q8mzVZAiOVs1mm6c/KAS/gVCfGpoqdCJMKEsu0dbFqxvGmp5Leo49Rt4Cd/mAiwElOY2Rn1mjPFvmK8ZQz4Mv6GlnsM2QHA5pzWDZvVNJQqEjZ5HRr1GggoV85ydZ5XpPIQ4UN0fpjw98qEOiK9EmAO2MUutJ6UfYmeWqRb0W56q8bMSyuMntqhPlF4zhfLL/dtCqDkoby/Z2irgfY+i6OvBf+jUAERgi1++74UO3q/63xafb9Na5kci1XFV1O386A2o3ZQQtCv95ovF1QKDJiNRx4awem8Lbf9QrtaAXOsEmkR6L5bYwtdzje8ehnFMQiAKYQp5QrcXMHhq+DP9YgKyJKMIzO8dBSk09XhHOy/EJbwSIi7ColsxvVpUzOjRXLQT231Z+YJCHrGmTEzr65Zohjh4/g8z1cZe+/Uc1e+PLn55mBX83IcTntXtnqBXumbMc01KO0TmQr/vdDV/YvKS42IPiwbX57aw8wBnmxkKIuBweE8GdqNqVFT46qoM/ytcPNrQapfi0HKN1/OQMD/RikPRXb6UrLRRE00Sfhu650fu9xII7ScercXXZkQmVUBjYPyGW0RUZF+6Q8IOf4VsgCYZoAKkFHcB6zCBC7GDfUZXWC/EYReCQDHTtKFaN2CSo7OKkRDDWesEx8ber6LO9yiw90+JX5LmIddNpWDvYBAUeuNRa1R8EhPsgggFul6hCCHVU5DbmE/VG0l6/KU5kiXR+cM7RLVfnBgzYkvRoFv8QOJLzVvKHSTvvJtJw6AmVAZg+mVk+2ZHJ4FoYL1KoPNAy2zeN+SFQu6qFBCsnAz6JIuGzz4++ioBH9vQflk2TUe+dJyJhVktFYJsnoe/nBBT+xiEx4ZLZEGk/KUZT48f/que2+n2/1pYPvbMpERFhWNKN/swytZgBCG4qWk7S7dm+e0kXm5vTna1V+n/2SJhZMhqaVs/PaM4FGl7eaciJp6dPcuryEYfPCBVIyJZYxwjmA2Mggae5/VHn6twjYv/p5Uj8i5RVxSqjE95stc1QqQV9recfFPTdlHh0N7zlPQH6m4MR9cd0dLpWKvZC5XdC6sDupuIRasIfn/Xqf7qMrdKhhfzsPb9LGvFS0YeuR8v+efNnmOHHx0BsgCTe+XfVzEfVf3p/mQF2gGt4zsfabIpCq+Os6BIskWbL8anSBeN44OTNBnvU8eGGMwpHyBF/i8v1KTtHcFso2eaQlOC60jClnJOy2Uh90lB8UpO5PhPrCN2E2XjT7xEosPBUEnNPunZ3EjfT3AbN9Gv+eW5NfRnsGJ8AYoBDmgrLK5hZxi1vOj+SE3ggF6k/qJwk7QjyRfrynmVRDnniM10c1r+rblkMl40DlV2dov2rJIsWkSlKiCBeDOKKsGLp4oQQMvyr8aI8kfOBDWsrMeuBv6/zukPFhtZ/rYaZ6AlGDJuPU5Z2CvkJwAhBi0eLSdGOc6zhq/jO4BkW/uWyphbaLKzx9VQnZIOlpdn4Ud0idyLNLIrK8s2l7IHRT8yi70VTCGjC5uBRgJw+VONDXVFW5lLQKPGGRS4TmiL2La2TZHUmjCbds4+PjlQwns4GJTadjKfr5qpAK/5Y555f/ZNdBee78+nRb5sIqFVzDElDX47I91Rgo1YokasLgkRxxAvn3FNE64h8zcEwGjIYCUb/C7I5JHdhN5Z1X7RKv0hx11HClLFf/Kgq9U15gYlXH5CSEE3OJ09OxdTbAH1vhoHzF5K5BAbSJHe0B+yc5Llb1jRQAJ2yZ1dzFZIu7WQUF3E3Bn1rZPHt2IXo72SihmSD+NCIdfOHGmwbqQ1TEePRSixon1w0ii4ahq0eCp5R+q934JEwyHj4XCSEeC8SUgOKLfjgoOhgFvyijjiPyqJ6Rdll60o32EMx2JJ2nL3wzoRoI14EJH1SkW4H6MLSIuDZRfd6fD2UDpLaYjgpCuubzFLHXIa9voJ/+28a+W8Tk4hUm1svl9v4bviA5+277ofmawXk2NH9wfm6E+mx17LAohWzM8VabbUjXiwPdhGMwcGiKfXgt5IJ+8MV9pYXV3ubgaavQFmv2LnIkra/4ncKLwKOaZPY/YhQBMBA46SOxo90KFJGdH2r1SpK/f/+qhHqGql2RoBTLhEboO+C5N6Q1fULkjSuFpBveY6cqkdvBqBAgPRbukwQV6OOn0wwdkAz0epQZ9IrSWtWK99hgnLC1VVQCUZVC3EI1n0gSHqbpiKcUay0uk6IJ2PfRyAvr9WPKxUg7A60yRp6Box+bMSpQKNsLkjh2FOS7hot4wqJx4T0+XQcCnQhNT6IwVCIazHjutHDrGqvtPpIFfNjVRAAoHercZpLpiPtMSObNJAfK6YPCLy2tylpehFUSHf1N5c1vNBTc6Uwmpdb7SyOCs8B+6qoxqQdi7ynsrOaAcIpmle+m0HDOK2V5Ftd9Qff66ZdvcuIWpYlbBd4LyyoPlzOSmFiLfTPpSDxovfBt4pVK76nhbkc/s8XX8euZOpu3lCOHHVAhTk/yxo9y5FxUS1zcPG6uHt6uSjMb6RTzd3hEgzjlyhxmOtJzSimT79vSpdo0pMoyYSJG29cYp4rEgwyL/mUojXI3EcPFSuHvEOk2/Y56tZtIRxvyOL2z/TDkd/f8ADb99/r/myYFvw30aGF1BVGC2LOakBhr5B5EO3fS3uHGB2vN5rZOEoazZI4Gqj5LkXkhXISTin5tw8VoovC7pWTaImj/d7mL6lh8wQ50NV7aAoK/tkMaEzVbCDIuzt8unmdFDGcAUqjwPOiV71yT8MUkcAXlzrA7vWJotPIfxEhC8wKCp0fV5PjmwMOr2olj+u2Yx5pD4rpBXDKLpbNiU+dvWUNvkV48oXB2BsGdCxkIIvuHGXw7ESoBCpiO0+GLz/ZEIyBo9ADqid7krPaGd94lSI04PU2092799pL1WLVeKv79Zbn/gv8RW2xLXXMPBTlL9AIVCvn4ZCroz0LBHB/WETOcuJ92OaKIEBskHI9JlwU/FhLdctsJ3PcRS8NmGz8fHAUAIkEOjkqIZUMyQwjLE38kmYI6QTyNxDtaQGPKD5deOmm727RaHsBag7TIx3VVADHlhi7k/42My08bcJ+MVKOMRZ4KKpQ6jr5KNs0HFUxrbK5JCClJgz5oTC3QH1VsLFmF/15DG67zTbngVK8GitrmAzMqLIyc845xLhl/xfKrzrYmvP6zysxbftp74At9yZYA1oTqL3Jqxx4KtdASyMDVEnlNm41tO4R9fmpWElDrgO/45EnlnBoP6WQ86RhFH8j2hie5pT2kC7r56BWnXXJWx0q5xwdGF2yOpKWPpnEVJA/rjUy/XuyCSr1YQ67kgODPLLffx9l3vFrtIct0vP/zWjpiVaYV4NNwnR/yJohoc/w6nniEWcB5cOnv8ob49lYXg2K592ErdJ1Ja1VTZG+3O+OksRAs5SCnZPtWlmXny5CvqrYAAMxIUpaiHUXP4PJEOzswWSuku+U0I8YVvkW8LcRDLDmruX+G/o3YbBkYmIDaXxrRaEfdIkRx98IXlvmNfirORXdEE50QOLjNEpcuWI1HAOmwVR6EDMD1jxorB9CUax4cWKil+Cv/AWO2ylZdRRC6bIDpBTTAfKGUYLKJvSWPl3RO5BbCQX+fQEyBkczP0W2Le6Vu0QW7geytVvzZrywSF8+ezxnaYkxUw9JxHfBXvj28eUmbEyA/gSmyTkSx7DNvWb52pSo7C/9+j3prBFAxpuWrhzx4pst3FeeMOfAaXbfsAQQYoZOtz34kML2IkgzRqkFOslVtaIhyZIDJafpSoXx1v/AxVASAZk+OsU1+bcAmtu+M0AZMzzXWHSI+4q7PbuQr5s3n5Jd7igdHzeuO3QqbrpXJc0xORFZPLeaMo5/7+/epzjMFSSCU8QXE5BEawI1h8yTngEXzo0+4V1yiGffWIkZCbSTQAYZt5SmYNx858LaTbHFxF0s9aFsNVmI1gPg3IdflofSEFcYIGBg4gFanJQT8MmaFo/xuuwhR4lQsDKJYMO1y1n44JpvV30zcdgS20oIwt8Xe6Ki5gf1AvBbD6v0UQA3NJiFwfxAZ3vmNOAt3Ss6l9KfmOJUB58TPrxI63fdxH3HiA06pNIiPr8eHbnCsULKJFz0F9Mk0+HCZ0t/JH3u3IqB7Eg+DN/s97Xhm6OJUxKIxijVUjBaEwfeQXVwAKAwAaJ2jFbc7Jd3xIb2YxGtvQBtZNuyFbhreUA4Zehh+c2d9INVGLaTFhkMf0i7TZs/NV4A0sLWslvZxTvoZtusDL8t1XEVVQOOsqRK+tn39uU1tkn3zQ7pPUgv9WyJfchCmGNHEgEID7gjtHf9ri1MkVuK023gyNLxIwtU7aZe9g59K9FBIuNcfJ5m+s/XgMfFyV6+wACAZW59USui36wqmCIHNe643WjMOg4BG0fBe4fcDnZJjzHbsCBDH8oPilUma6eBSM0BobTrMp9xtnW7etHYNZc4qWvvASw+j3jH7vEp7smSybPMW4Ip8Sr3UkbyRIZECVATQcy1wvB13TYugaH2m6JYh7ykeG5mWJ2uMoS0o7sq9xb5mA5lKeiPtzj7I2qY993gewUM0dTb87Jxja+dBhAHRruAXJYkWpIBoTd1UDi1/ATKehDkl4AGA6B/Co9AoWoScJ3Wb5BVn44vy4XEDo//iF6TZ4MqBInpTtcCmxzPpC/N1uH9HAGbK8fqkWwXRy1Yb6DWzoVPklKZa0g4HqB+F0bx4IwUpggXHQHGRWl851gBwaJMPuRuP95OGH6FGg5gYd6B3jIIkaLqGN6lz7mSwijC9LE1Lot6Hbz174TH6o85NtIHBwdT0MtJBkIBw+OgL1ksZWE1n2cd+NIvMN9jIEOKpEMEJMRvFf4dvVgi1wnyC20hAE07/pA/KRFjSvN6bt2/diDRDeCebBhUC7ldCZgUNt29E+P/WCgKWgV+X90Rg1p/RtSBYKeGqkt9JVVCLq+Omf9pw4PUDq4vAVWbv8coKOYp+ESarZSeuW8Z4mYRy2FOMnPs1vjzOrpiXp/hXrNyC3UqqSnMrLxCWaLsskTVhjx0YHPByntcJyB1SJIOCa7i2ErAxS9TaRsjknp+0ue+6h+jYrVrn8teHJG+3ryBczvDF2pl1tGN05JCJmFGj361+rqRNo6ycnNcM25WJyGP0Ti7OndnuANEKrcZSgbHRY64VM1tv/kWhG+UYZvOlXO17s15s2+Z7jF3iXJYPS7Soyaa+5jB9qDzRvamBw2dDQCeBMSvBTzLPVVdTzTl1p7vZ0zwCHykqIPbY5Bf2CpVcvNUOVosMXsgcWN7N6GWH3SI0mp2uxqjmRJO/3cJWjLVxLPJOM97A58MWffe8z77lASs9LI7F0JptKKN+VcnDArvJuOjsvXPfR6l3ocsxZwYfvNax2WOLmRydtuLrDvAtmCVvJyfoO7iWMSVkyjO28BelzpSbQGY4yWnQxy4RMzh601oXGQnhvkZUmYQaFCYfKy/euwN7DjTDpggMIDgT1oAmz8h6I4rxrrS6F9AuLcyIaCcxdOaHCbewt5g7EHXGHfrzRRgahqoXUd1BwFbrBLn3EKz1a+Iy6HPrBbaK4qZguqzEwZJp1FpLSMCKuCWZnURQyA9uCyK2mPhN7ulI+a+jD+qfQ/Nb0RzXpf8aBUiXxSres9mnyDX6Yhk7/W1xt3KyqoHU2HWa2Qf8NVT1Psff8wpeTfTVoOcEzR4GGYLngcNSP2Xa2pjaKuvwvp3OtYYiFmMDK8eelqG8pSZkGLYoVdL+rRr++pU///Ns2GvZt5CHMMPwPGfyU3PZijOJ2nHOo03akY3Jv6JmKAYXy5l5Y4xmdoH/cELyi2c4yinNBQXNn/L+qI7D9qRX6kZGWfggvGfhR2G74IHM/+dEmNmPAFC8nlE+9KWvYFUjt0nRB/e1QkZQg/jnzKwNKWs9zvVqzV5KrE6TG5SmMnQC+7vU5K/VWVGQSWpzrWBknUMt7IKN/Ak1LlV/IYXiZOQWu7xgG2wGxHSj6id8yZzTNjcD4f6MwWSPnrP6qP169sL+o0SYsywoJf3U3dI/cDrrb9blRU8xIj+t0QWf54+qjauWacFgNNTiBjRxaOB3vW439+GPuvZeWxeoMUL3lq5aFdeKOGN+l7m0sZcNBzDsLPgJu68OaysFSc7mLKb4NnPPwofuZd+tF7TeBQQ6vvvVTomiRhWTolv+UI/73om+fI7r8L9Bpjx791M6bd73yH67nsG2BoWrpbgvyrsSF76T/ClGigKHrrusJtERKwrZUQD9vFm5uk3mydHsZpZwc6WinkLWMk+fNP4OBKE3vsId8Jh3fjAxoUNppJZFUrBUpPgNe2FrSMBIs/f6794NZGiYjJeA5kC2bzPbl9WmzaHtXkyDWmznyN2VV4keVr5w=">
            <a:extLst>
              <a:ext uri="{FF2B5EF4-FFF2-40B4-BE49-F238E27FC236}">
                <a16:creationId xmlns:a16="http://schemas.microsoft.com/office/drawing/2014/main" id="{B33968BB-281A-45D4-9337-6087F6FD3837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49250" y="1730374"/>
            <a:ext cx="8229600" cy="488289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738" y="305304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Uber Revenue Mix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/>
        </p:nvSpPr>
        <p:spPr>
          <a:xfrm>
            <a:off x="6370321" y="6489708"/>
            <a:ext cx="21765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4"/>
              </a:rPr>
              <a:t>Learn how to make this chart</a:t>
            </a:r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/>
        </p:nvSpPr>
        <p:spPr>
          <a:xfrm>
            <a:off x="402839" y="6489709"/>
            <a:ext cx="59355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>
                <a:hlinkClick r:id="rId5"/>
              </a:rPr>
              <a:t>Company financials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8738" y="1123992"/>
            <a:ext cx="8229600" cy="685800"/>
          </a:xfrm>
        </p:spPr>
        <p:txBody>
          <a:bodyPr>
            <a:normAutofit fontScale="92500"/>
          </a:bodyPr>
          <a:lstStyle/>
          <a:p>
            <a:r>
              <a:rPr lang="en-US" sz="1600" dirty="0"/>
              <a:t>The pandemic shifted Uber’s revenue mix from ride-hailing to Eats. While its mobility revenue halved, its delivery revenue grew almost 4-fold and accounted for 40% of the total for Q3 2020.</a:t>
            </a:r>
          </a:p>
        </p:txBody>
      </p:sp>
    </p:spTree>
    <p:extLst>
      <p:ext uri="{BB962C8B-B14F-4D97-AF65-F5344CB8AC3E}">
        <p14:creationId xmlns:p14="http://schemas.microsoft.com/office/powerpoint/2010/main" val="2550094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3" val="64463c26-7e44-41e8-ab49-3f04e77f577a"/>
  <p:tag name="MEKKOEXCEL4" val="637407890314909738"/>
  <p:tag name="MEKKOEXCEL6" val="False"/>
  <p:tag name="MEKKOEXCEL7" val="False"/>
  <p:tag name="MEKKOEXCEL8" val="False"/>
  <p:tag name="MEKKOXML1" val="4HooU0THZk28POP9trq+pbTvvzd/gcV8t56cq85kb3NDTsUhojRA0EsgEHHMH7oYP1SYpn09ysXVivguJdhTvfyVMsBLTGvcX7WPTor/CmXbx2PaumIqPYFjd0QTQ9JSv6MwpYjFXw1YNF3N2Q/iZ1jhTIUVzICPkjVsDT6onPHshapIHAVsXDbzggaD6xIJjVIu4bVjvkFioO0YPzHISezUaJ08mWEfDAfrqtwE7/r0OVhUrGKvDqV3TvXKy8/EHUonPRU3cevJU3yaF8jnmTmuXY7gukniz7nWU+iohssMUVUhESacCjuIr4AY5BEdyERT7H1KxAOTJc+QVL3/ycO6D0LZXluemzyHVdc0t4C7LnFAOT2YzpaGGyZgxJReIplUGDJyorNhPNyrCDiYlkCC5qFk7vMyJoIIrxk76pjIJGNqd1ME7meY57WgRc2+Q44vwncPhNnTcqlWyns+Ukh//G9iJM1hexvucA39M810XLDnPMK1X5JutgJQQ0BGRwzcGEc4yhzTZhbzDOIWhqZFztZfOstfHTMqBpFGKFLGCShi7edZYjO0yjEZkaiYsUzXNc1hzF41lnWpyR8teBWABksAqI2mrfrNZPj8PY49X2fY+kTGmt2xXGmP3YhBW1GpPcI2Kc/XH4fXiLeIwZoY3pamqmZKDUcgMvnhWQIcuy1hnWluAeJMsPaIDyv6MfR26DRkqW1tU4inUipZ5hSFSTdGfvHa02cqH2mUbp+6Od4KJ5riH7Ba19j/yGMkChYvypv+c9bj+PyGA/+Hj4/OrKm5nXUKcSowqlGX3lfhc1EJkUTAsV3hslBrkJzVtlFDHMxcSQK6B+Um+7MPJH+qdrL8TmdI3BwM0xK9SpudHlumFUkU0RKagyqpyJoY6BDlQVLMLuZ7T/ebzh/io1IVRAfzp+hrMhuxCDZOV2a4yZzoC0NOHrZPJTNXzJCll2a0vC2YUk52LTylAtchmaQidh9spIYIhId1TkC34ngLg0Y59sdJU64RJ9Wq+0n0qhv4lMDyh0a1PN9riOMatfsBS1ep3aueZB51M6DDpkFGf1i0sJNfi+QNE0qvfe5mpFIUuaWoY5shjDqmsthZkTGYBoBmfImm/NQNJTMeO4NWOioj7o0sRB83O3WpUEfbUOuYufEBd6PE2GL8l4O8uiblpyn98UPVqnz2eyLc1M72AiEdk/Yp5nTEtAoQQlbVesDs0MGIAahulbyWoCdaxqzNuMK/7Sxlkfa+9fJ7kCm1SeQsIhVjEAUAjzzDS/2fsX/4LMu9/ok0jHgiioj4oz00wpILswFt8Z0uJxRIEDENLlAMeklgAYMlCBkQEQl1Y/Qactm+RPVjuQAo8a5Qa1QyNn2llvsSw8SpTKhtlhXA93Cz1wSqAHMhY/njZd45karJIrdXmnmu0bgQSX+OmUhTRgtWUIZbbxeG/PBROEcW+WFj0VajwKe2pnc/WziVzjRkDKbQWG2bYN6aPontW+5LIRHaK4bI/pObpr7I9dMiRzPNog7e6/sQ7PA/t9MhkfcOOqOFiurIW7TctZrWJI71f4KSELyXhyEaSuO3ns3iwLFzrtMt8Vo67YFy6ZCoSpjrLo+kY8lGQHom60BlEQVjtCMrU/Lk7kL9eEo/jIA1e81KU3Ir+qTWJMWzDx1bdBiD9cXHKd7dVzh3mlHUOeoBq0L8NjF60PafkXX0aDu28apC2sAnUD18HtOm7gM4rcspFWoJiv4QKpvDpkzNTIRlDzXH+Li9srxH21j9MJm9+Xm+pdM3tduPJ1kTus91a1zQP9hlXbkWsCyXV+VYKIihtvTxCS5Y6REdhU/eJe0FvB6tO5vkXkqk5qED5s4K0e1sev4mVJQGHHiIsfqTyP4QP+DCvnAgHYRfId2XwlcuCGgXgrvSzNkdS6dOg/jwPMTE1ivzZ7lpGY/UQXP9ob+7dAhFKRH1ein6SGXKPm+ekRudQxdDee92hWKMVs+Rg+mZenRkoTKq/iK7OWBXqVv/oQS7152ybhb2f1EbLuUqxCIoFlZAop42Ayr6++ecro2x8wmG42lBXrAibH50MncCm6IX4FO6XAxcQD+Rf7++efIVXT9jtqD1Dqhgh7X7R5z/U3Ywik3iqyvPCBnQpfmt5hV8f1520bsZq1j74yqjdawIZR+35t0z7InnFn24ek+sveHSWN5DPuufNCQ3HTsdrYxL4qUcr1DFnW2T83LhKuvYqzOiA2lTjjPx0YxlDmjb+qVmskCcQMm2BxwbQzyWxZJ6+aJaWx2ff75t2w0ymTQozUJAO9iA3gEQfr5bdZFEvjvZyc1kQ7sU4g4k3jflqRBx1oObS8yyneAJm3PaKJrWV3FzTspdRxbgY0buMYU4iYlXdIqRR5wtQhrCKZ8bdKBepzXfGxGMv9w9+rgQl0fGTiTiX42E7XTLvkXULry9lNFhdQSJuxIbKYGe8Q1BPfzVN0omC5XcW3gTCk1wi9ffGl/6E2K6tn4/A4CqAfYNHowDJ7HxalFtyG7aQGxYoKArbB1JvtPGGS/Tf4Ca+cVa5By8JvHLBzBuSAdz2uy1cyBbKbfmXzPpt35KqaZF9jOAT0DN4N6kLaYYFf9flS5SHs46lkBE21jDeyWpptuZZmumSYiE4LayBhnVLr2MtvpUVqwdJ23coCZ2vUkuJFekLQJy9PfRvsZRBviInAAg2z0q46uPqVaM9+y8GA08WPJ/onK3S0B9ZavaRZGD/It0zUWatUre2wgiIcnQjWCy9Lr+5FFi4bPq9vmo4sBxld1o45RvQbxCuzv2oxWTMiuqBeKZc8owGBLsMCqC/2IqmlwRfyk33OLYUHc8VbDRScPMDL5Re07U8LEnoW60c7xeoCSANJ8uOuKnfWiA6+hQmlDGwNvnaDfHekoQdbO7YI/tQuca58IZ8i2vl+CNXhzm2OkbMguHinvhODBQ/MI4VXuxi731yk/YUcOO5iikvpYjk8UUdgZ/eWP8Y8KXblLr2zVr/nOhNb57YqpjIRa5yuT3KRUyl/h8rrEyRRlP0/H3ynlTMx5kDd5dCxJfevlcT8iR9+S0iks7kK2tDJ23g5QdOy+KHG+/RKqpvbjYaGSF+AMZJwCPIDq5HHA2n2g2nKUxF/smTzTIfJGpB7ATCn+3drsMOh4GrNZx7MdjLssmPM80M6Gmyr8x6oys345H4ntdAg5tWviuT3VBsYEn8LHHEQWrq+zuIjSOlP2V4DXnc3eV/8lE4l5SDwq3g7aEfUjyiCBOBDOGufgtlLF1yUcwRJAW3EBaEIylHZgxORr61P1nDA/3eGRhRVvYEj546c3dNfcQVnuCGgx9LpBHHpYiqtiqijnMlE0IYk4pyPpLsbae8Kn0CWV8+QbWeKd6VNYz72nwZUM01AvHAtwwfc3tdlKsP3T50tqYY6G0UkwJCJt8BRx1N5vKdd3itxJz12l8QCRZe3YJtngAt8BcDf2a0rQD3wvQ9kqxcsxDHEd91IvDRJTTnLuW6Ok57Z46zAlfQtxi3E5KRdYyfh9RDfmb1Z34/qGHB2GE3j6OBIWrXkaYWwRoz8QvmNSnjHB8BwdINie8H7+eBFDM3eR3lbf/R3uIkpAfCFKQKCiWSj6bHkn5ezL6rbfdj1Rr9TZ3sE1N4QSc2UAOms2DDesRNC6t6A4Hs7I+c9+/34xkKfLfxSU7eHoHzLg7mjleulFo1rxPD3hiX7xkZ/fwItmUerPhZRQiVqIlP2odw9olqPJf5obJbF02/sWljR4ysN7e6YrLZwU4WE/rFDB4zbVnapv0/O8ojZJ/VUztVceg2+GxBcH8rYu1XyhYUwEEEwgD4DMv7v5H9jHDwbKg/Cb4jgrJvpSdII+RvZjAaMe8bmt3JK7/mlX2L2NkBXjbY9+o8oyo+vTBXMwn0a84ZFaoVBBrB8ClfXo+y+aVtQUSsNWsyR9j6gfUkNJqx0cYEIWtNajhcavqxILR/D//ROkrpjoL2+Tp+BBml9OEPEvQtkO3LnivEfHoaA1KertujpmxylJ6SfTVcKwFZN8lPDaTdAmVXVciePC20C0UjiC1HWBjlKKOE682V2W6fElqXcPiXViI88Jf+pYJ0QAdESuGiaB1FxU0ICmK7Rqg7RbKXCYawFNpqZ24CvVdr25IEd6hSVu1yTOyS0tRK+Ocv60vaOmV4Q0lRWdAMYDIwE9tWYJ9gN5/lZgQoWhOgupSfgZKR6WSqTyFC8qMtb+a+x7ue2b/K0L9vq4q/+LqbSPc01sAXdJ7mDraQ/xuVPkPWz0ywjWQe6tRuEFx0TQQ/hOCNT9jhc+bv5Zu6R4eiqn8PoEpULeibNPunh1zpVV+XLHxO0bicNWOLusYUblOqu7oHoPkXEX2IyHO+C1udGQKF4Pz9V0us30xsTsj3/bnM4qFX8t3UceTUiFJWGCHyIfrsCXyaSmXBIX9Ra5ZIlCM4nLKIV4LZU9jpmh5oYhURF8Tsfy7XBqGiD/so6Srja0CzbrRYIxvqbStlIr4nS7aRYBasc+b2iaCczvB6VexDgEPPteasm80MjkLcPyGdt6Ila1kaeX+LqDp9+PNx3QInciY1JqyitdhcxUpQ5UZ+6HYO65hHPuf4apryCMI1Zj68XaoQLbsoT+F3ukbyNhXyyVCtTfN4nQosdQlS+3ahbYriCoYeCBuNN+3SNQ8+EShKLBnsqH6pPGtzDbtJDhsvqehYSA+YJR0SaJkHCOOlzqVb247j1pN5MzYGrAnrjx/5uLIaBU64NwDsitoAiByvUzh70NsetRx3RoFPZmcnPOBnE9Q+8h3NVvA2oOUrtZRx3zscTrTb2I60FukLSPuda229hegBTk+SNNh4EiPjJ2Z9uoVQsK03Ib577aA7+ui+OeMxjeJcgPQZ+Jwp3gkboWbkv7pWjl3PwAggML+pLsM3Brp+IcFnEEoIv0nNUzTmN5fXAHt0O6NQtHWRqP1L3RrdS5vDmHKrTfLiUayYrnClJaTXlV3r1uf6ZN8jvUIhKKp7ZbKQoxSUhOHwXwQurT2XRESFtKDg5InlTqnxlVrGaj6KC4cNs9tJZKCo14qPtpwSoprK3u7DeWbu/Pu2mgDrFXrq4tksnAuuAZuWtQ1iRaC/SfBJf6au1/cNVRIPbxoWQwbTtw6bQ0sgYx3Y4e9v9t8FEM5epy9sNycPI4rHwQ7Vbof+eAAZJMD90hnxEFoTQWjGMDhBWWQ0SkOElCPlQ1JNE9ac16Riu9mB/SVl8mwiwCVN9e7ZnbnldZYsG9x+ZeCHvjZQipv2rs/ncfgOzFJWRyTEHaBEKoTQUQGEqazKkUZJvbP9Ii0+MnZfNBx2OiMFd8iRY1aywGyScJXR8v02fCnr4cMrrg22pl8cDOJk69HVOkfBjg2jFVQ7E8i+R20PIAT3y6jmlrR1QhLdSLZmKYAcLjLDpkcMRujEiNipiHS9zmZtPVz4ffJuhgz00nHxMco8saTxktP9YWTXXU7/42u6OpZ0OfBzK8589qOrtA7gr59SMSd0K3X13YILWgpHY5zegsxI9RUJwtb2Zw9ck4v75MPpEsn68niZXBLvGIYpSrDcZ9Ql14+0NDNOwRNGAdzCSt1TFXBPZv4W6QzjaDhQM597n4Er2XPgUrVtFUQeya2pXBF+TmrCqkkk6LHLb8LUZVDDoOjjTVJav1vhquNHlEut/R5T9JL0+n9ndLSfoVPMFhcmd9ECNJ4DbU7d8UYMOCUvKGa/wTIrAKiOt7YU3zd33OBJGDc7iMvtddO8q9r0/HPhTHS1eAIQwgzEgsWrcf0cb27PO3kfZTc9bj4F19JLb0Nl67GbkVHmDS64FISLU16aAThs0/kQlmrlnuJnz06nuLN3ds9At9uiGqQpQ+7el5gMYJKuv696ajdNhz5YcZh9lC0mHLitnQngdVeYi37vblWttv2gx3ydREs62wq93TDAMlSiTGWzYqwCfzEtbXs/288cXmLmGcFPNAgzaYiyh+GfSz7J7skW/zD8/M3QAs9YQFrNg4jDKg9T2eMFEkNemoixbW4Q1jrKH9D9nqLo3fh6G5YAbxta0pIP9uKCC70vC2OsuujnZYiTc4rd9gsnZxesrB8vyhWKZuRp28rXWG1Q1FDf2DvmFECffxKce/UV4Cf969hZdaKkZQMzAIl/VpZ9nsghV7jcfqD0NIQTtk40L701lNyumn4dE7T7ZCUgX6B85Y7DT70Ddp5tklvWIzXghwyJbFSvW2HCeTLblYXdai4ChK79q1ZT63tSb3NIkMZP4f0uzZssugXlfAWL6Lj4VJMqKDwr8ertnRN/WLP10OZq2Zd/2h77Lo1Q71tr6AoF4OkPkJk8pQKUsKSczHVfkB3YjANhLC+yKYA1jF4Ht3hQP179np++AtJcHuz4Il7//A+Ly0OejT4SrokwyPxUjLCGQwmDMXjARinvQ6TpMfXXoMJLm3D5h8/K8hXnLxvasOoN8RtU+sZ0gwopnksMchsV7sEdL1QnrxJpQ/h8UZliTJvsRp3azIB1I5RHv2kW+1ho14DPzk/ush5jgsWtMGm5BRUMXLz1okJxmVvkzhUB9venWNuCflxqQkD2oItDJCnd015ztTfIqs/f6YEm10IFjcOPcsgHRMNrYPFXfDHMJqT4oD7x3iGCxMGtChwJI+dkGdM34rGqJSrR/Is87XNvBMmSEszvfHmSivNNiND50ILZPtUXKyLsaIUDsai7UjGBckXsn3cCT9qsnlR5fVIUMbIaDNfzYtLxO+nXdOv4zpezmEaH9VvVqUXtG0ANkhmHn9sizx+g2twsvkcxhi5WfMtIyO5Q6skK3O8rnve69wzKHxoh4+twXfxFNkGGtt102TVE0EJ0UKEEJQGjfmdGZyQrGfUpRGgpbOVUgV93P5EAhj+8wew5gcwTTZmwK7Zc9fDsLbMcXiPHXkgRhCnVhVuCMWGyMtX0ZfJ3wl+bLBUtP92CacjhfJQzJ5Z+Xs6K/TtT2m2CiV0c1ZUny/ADtplrRX8a0NGjitVumZ4lxUzrb8yFHW+gygd06KCb4VvA0/7sD61peiKCgvjt62YqOoqPWDE00c4PsT8jNrga2xM/c+3hsRvotftlNX/Q41LdMrSx3abPq1MvC77z6vn+wcchZqXNeU3xyIijvqST3//j2PPUjzH9jF9OE43Y35dPzoFqCeoMzpiFjEdEIrOf6f3I7qAzUT78rBV9SCV78AwCjgufvss2VONdkdXbSYQm6XqjHMwikEY9fxvavIv1wGsosKuEA3Hdj2dXV+MlIJTqH3SXx8wQmuyo+T3Vm5I7nRbuAGLaomDj7n8X/rRXip9hV1KHJ9OOl7Jl9+K94EaZ9MNaRd6Yr0y/qRepdV7bOIH24h/KmRKHzX5sxhblqdGISZCIYbWQFjZfWNjFTqJ9SbXDMepg7+HEGCYME6Fa6NhZLCUsKfsze0qw8xEvTlIZA+j/BzjUKl8JLNCCj4XZKhz1ll7gLVGQ+Zy10wmxHZ9p7bqk1IvHfihXH6v1CzeQyoXT+zqTRrxudsUJyEaE8NI67iIVLC7R4QnOW1ig9ohuOepyvM5+QjlAtaZrJtpPFYpukJhQ7BC+5YE907CUzs9PX7AVCbGqsEmZclXyDzRXl4URbSDlcy3VuqSsSb3OzXDPKS7i/qsVFNoUJak7aB1NW2JrKSKuOPbdF7eWjo2yoDJuCoFflxlGwtJPRyc417JynETUOp3QYbhFl16Wx+03h629HWYLaYR2JPrRa8Wr1gBcIrThtwrBWRk0ktNCL251mnmjgERjGi7nPzN73QOxcLMbWfiGeQh/P19071gBde/8yWX0JnKXg/auPc3tEHlw/9Okf5zqo/CbK36I3uGLTEpuzcXG0keGAQXEurzmcU5wDug/6T+ziBMpKOP7qDYl1ZZma+nuf/1sO36A1GqkV5YYeuPJnGLiy5CkhRIbe8uDgi1EL5SxhXk8C+HN7DjQ4W33yaf0vVOuUz5M+v1KaZuFJQO7EG22IA+Y8xRUbDDamcIM+CK1VC4wFZQNIJmUEPqtLAhhc5uW+Re5P0No+0RehCR91ZmfwAV/QypAyhoJhLrtKmqLOpCbV2T6RevhJrOUN7U+Nymwm/FxAGVdWp5tcl/iZ5vMldyUFeMPz7yj+meljhKN2LVMLEzivPvnlIWNUsozGJP3Zh2wkAzP4UlUvpO6njw/Bo81pxDb+ChyC8yyxYi+9ATxBLPWiiD4LtyuiEk4VnqY6sJpancd/tarZuhlxhyBhtnwlOl/MIwK1Ch4azcXLnuhBoi9eikGwht5xdakpnhsBnx7UfQR+nr3uwhlIMFybUqtB1F0QNtRHG14D6h+U6j6fkLmAfKooHqdA+V93I/MJJllpdq6TgYz0eFQYKIq9vjCTBUzbqQShRFr+FwPykD83xnTZSpC5nPJMJ7IoGdLT2iH/8RP3Xs0IagheODlxcjAFdUKEFSEASquOqOupBh1sBL9IEWqli9+HJVgwavEM9o8wQpYjCt+fGMQMnDQ+5+HOtuRzbNPEwfWuhaQ09EucFkSc65lAwBULA1tp3nskGaWDr9gjSorBZrcDrZ/dEj8tRvFb1r9lLoOpmrqeT5mLeCz+Lok3H3fWII4PtVdLf1dzS4Gava7g7IPbmUXVGKKH06bTnKtNTko7KzEGK9yPEp3CW2YNm3bOWU3MHRw4dw+Ew3G2LpHGXSujT52oamwRl8LkMqw1/4wFX5T04ZhqQYZ9JRE7GO0iyEXlSYkPOtqBWrKII6EdUqYHrcsJxSKEHaXANUWJUcjmAl2dcWjG0JXlxx7yCLyCnRijr348rXP7ycLfc+I33ZflniCfkJSMNLVTsPzXlUVOupXU/vGJt+NBjKcg6E/+PRyrqrRtd6dHVvpSvYkYBZsaJAyEbl8sodPLcwyDG698uC4YZud0LEfbfgvBa1a/gKG2OH1TGfpLIFLhzOwPt4iiL3wpBDQa95hj+2HNlJMV9n7oM3ouVzG+bkGhFM5KNzTQsWRN9eHwO1ndHe89SBCexA05UZZ9eX1sJk3pLaDqQ7DxgX2dDhHHwsztRD4v3HEsQTu/SqHfyuN1nAv8ddoqJvDu1BtTt3o4y+TiF+6d63b0UnHhnWVjOwrKqfVozx1UTMp0I3dJZnOFvnojjCLxOGcWAiC481XLtHxOdITdmy5ECZwxZm5WTbi9tzESYKkOBBghjkQzlyzpEsVHtiX+ZY4rZTrCtLmgSlBRUDVNflDjm6zbD3o5HclsqqKCYluenSvrh+vaELsZofaEfGAThcMdeeL5hw/BgbfvlpbWAHj/ZRiUIixdRBA4tdphLIzbXusbX1RB3Ap2qTuN5qaI5sbIocnjGUVGfiBDDY+Zo/9leBq5dVNGstYE1MtCl4FHhlqcgI4RI3VwiQk/r/7vEQi0BRlBUb1mpRxn6lFgr7xulK2HBM3s3wm2Gg4gvTzwimn7x1le+QPlgboLXdVtc5ZwBz29soU60veDcY78bLNGlBBBGsG7WQTyi11qzPFtuOzUBXFHGbkifkWfCzCqYAPhVMbiQyGTBAsNuCjJPlqJ9oaIs5iZFc9bLrs6H01tx2UlOwfWUuZTO/Cq911pgeqLrjvOFicWWrPCOkPYEfbCI0eN3ratDP+2KSgpXBaujoUQqkTzmyyA8uq5MbYxOkAHbw0duF1Pu6BT9dbkbUenzM8szYUef4jmf1YW8XOpGuI//HONvoCCVMngdTIUYr+ffYGZ2ifkd/vYNxtnHyau3wp9ComEU+PPDoy/wN/V3FfMbBb2gGfPl1NuzMko4KlNr/NCpRRgdbI8HpBdr6yQkPIu3w2LYwgt+EZpAe8QHJICxrI2ib5Zmzh+dpm2aB9jcmsSDR2baw+81kwIiQ149O2+lvBj8/kUuBK0pEGa4XxYwUBrAlmtSOWJ+eMBDp4pTxDWbyFJjpJ/zSwazcSgleFHS/9sOF46ZKGIk0iPU+oVoToJ1t80NDymXigWP1gLklAOk/2KUiyWwV3wg2ORxJuQG9ll00CGJlwZ74tggGAI2LqhCcS90rNEwXWLO+T2mS/RrmleOgMb4QmIG4xoNnFPkHfGY8mionqWr3IwBKfIkCazsBhNAIwwcxTE3dXYw/ivavPc/PlkunDk1ORPV2F3x5+FWl3fmekfYtDkKFpgX7UObczvoXZxr0ojXiplT/wMMVJiVK+aHwhgvyaob6zfwbpViqI8sAxXOe12e7BaqQoeQvh/Y2Jv+0az6h8vawVNH+PMwkzMaX5EPS8vQDgeJW+XjEtyZTP0Ochkl1i2odk2efvulATXVWwWvg3d9vMbZ2GPWXcaf3qlx39qz7NAgaN+WtzoRpXuGbBR+qxdNKekXfvHNX7JiYlLnloyPvFS2LssYUmQaXvytTT1hl3AdGWt10kD1b5ESRdP9Nx/WvNV2OqZlXrDgfBsbh4+/8DU2rd6uq6WctJIGIo7oSfwUtOFQwvQyWH6UQcpBieCfbOAfV24p9c9GPYyXebIemfyvRRBktLt1r98DzYtkRTP3SW2n9xf9NdH7d2usg/gd4dpK0/o7ZBT+Em/NnZ7o2AZstU01HUypBJP3MkoNnrWmEcOWQ5x811GJBED6zfA2QB0g2w9pY4RleBeRdz6vcSJ1LWaVwzWZHcOATUkOAHv0NLrR8t77SIaZcJ/VxZACFQ+8YL5QepKncwaQ8ygcM/fRCZYG4N+eF+sF2JZtWl3IUHdKDBrKApvWSLfAJFv7UroopdCWfDeZinnB0LjPOCKxehPzYPMDWT76woPOfYXIVnbCZ4ESCORyYn8aiNKjr8OkKAR2eR//RJUy/e32VIuQqhHLeSSTevcMJsLx/SuObVXOWVFr8ju+aOctpZuPJL15VNYExpzb9eWS22wOsAdzBbyOhySAfYu0g2suBpzy3SMaXyd/wAoR8FdEUY9xzsNu1w/xbzKPUbaUzoVJ3IukHYvwrIsHdS+gIG1zGCRV+EkkqGMA14XOcgFpCEEk9S+UE2JaRECGD9zKGfbrkZ0A2YrDdDiyJM8tS+La+4iytoV6tmVsjWRLnkRyugiQk05UtvsjkynnWZ81MTTmTK+mMyGqrg67KCkUYDMuK4uf7SdO3/Lp9ci8pS4BQ8Id2Q/aD8xAiRYTQ2/HDagGvIPnWzHsRH0ySZVn6TPSYmRZgyZBxM9EbxK3iz1+RIOdago+ADLAxIOOmQURcq5Vi/9a2DUnVOnDBgwRhj7GbzSBkzdABNYBB3mZSWDYp15WOS+zhG7QuFxxjJzkN/lvap+U7upR9bHhXdk1pyk/EmvAlZk5fWT63O/G03QeI7hwbO00qb0RAjvfATqSx8rf+FZmkw6Ckev+oH5gYkxeiu1p5mqnEnCmHJ5a7rSvlT+KLEXRb6ktES3VRejkROZ3DE/96UAIsCfIqZ68rbb0YZYeSoT4ksXNtVxq5CZW+mjeW4KfpoH/5XzHFwCEBkd1UgPk6ypqwLuLaMt2lJWvduSLmtYQEgMT1cCCy5C80pPkhRD14fSwEB+0MQYzk+jcSS/NruMU7wUfLaSHZb92MqLHV36oSXNdhnbzYtenTjJa2kKSWYtUrbv4ANxGYneUlltI8Nr+CSC4xwLaXM2rQ3DAKNGtFj5spaJOuUgS9sc9fTSPZhSr/uzjJ4YkD2+tSg7xqUUVHNphEJWTRwIHUsalpiTmdlQUeFEUlKpvyi5uo/fHre27CcXi1kPSbu6eommHSbo1WverEErZB7VQyKroYIBgCIFN9Hkohpwip7w+sJGAX+PhsHbUNJl5J13YcdC8HltNzDzS3pDyQcq/T/2auamMwUkdUB3s3RwOyS4HfrL+laEg1IRo88R5bKm00rzP57Qk47J7iq7Au4EBOF/0Kwpnx+bney3VThJlk6ZJE4l8i5tgTYcZbQW+ZHLULIdSR1FzX4EUcm70f7SKAVAF8wrzAIjmAVO432Av35smPzWdBy7YLm4deba0yOwSVYnu7MIfdSO2GsYbrE2cmVU9DExdwg0QksqmKiaOQU2F3JTyOv8yQOYNS3PAx+42xNuy4jxX9srirLeXXTjT1evuKbwg5+enKD0bozGtrmOq0DVRm4qZiBEFvLotYsUjZIK6KvFINpVPi9b4XHDXh+08YbGhA/AGRd1ehAdD1ma8PvtZW1EkpZLVuTAk3xX+ytQzYIFFvi4ZBd27lNgHx1E/LCwDdCk62mjxV4y6ffZ57e8065MQEQlreDTQSRCNj9DaKnCfV+VD8FwmhIDAnyrDqWhbP6tb1iLajEQcHgfw9xUQneHzJpep8/OOZ5z0qHDvuGNwQLst+1BWpjwUVF+RHfL+4JNxeDE0lyOwKuki43SA83tPRLGeAjzUtIbklGXj8T342Pr6XA7RedClzq1/Tnho9WOibH070mJcf5yPxp15v+lugygWbWTtyH9KDIiwvC8FXZqNpFJHHqDqNIqwcUwmrbT6et6HLGk+NZZ4vYuFqjoeuvWS/H9yv3Yq9ZbUQNvJynm6nsk5ksftL16r+eOLX3jXMrUx9ZIYn7cCD0YjkrjFhf/SApI6iq9FpzjJcrKcNwVkuQQ0r6fMvZ8YSVDLN/esDuyyQwecq2GePwqldTbPkeXPjp8IWObQXVUHDifJ4kGKtJ/zAZ0eCJSCYNXk48QjKtEYZcWlLwpQz9GWX81Pn00YPgz82HqHbGKWj9aQXorOnpLfNa5/XOypIANR4ZOI6N6bu2BLX8lQww86sDD/E+wbdf/Zr7V044lm5K8wKFnkH+k5+gRqUMtTGl9E458QoaXYSoOWEZsaReorq+ED8qd7RRc7khbFyYYzgIH1CPN6qi3D+UK2/uVlOtUF7qFDm/a5aPUYD6ujYAuXZe5oklh9hDmaBMINMq+Chco6YbSKzKJFONws0ybXGwcCKBS9Xu5QFhXnrPkm/PIg02ZZz48IP7PQW+5oMXK7im0LZJ5DBNPMk/bkRzrkot4Kaed6V57lkTL+r/ODfCfCl8sgoUh6rAspt75ETjWDcUz5W3o9GXdvMs6Bp6MIyNoRCoir28OPpkoVi3aLnzBVS8netAtKU8iq0Bz1rjvXdxnjv1q9m0V/g5hWk7ap/7gkG4aUVSn2SjPV2JFMzBeqE+lAzf9ESrkGhDN6Eui83/6AzsNUQ9Li4b+YP4OWYHGRFFgPZtO5u7JalSnYlUv2Su/PK3wZuF2+DXYZlvVtcifZ3sx5caoQ0lhcU7tA2L7VWfc8j5cbVYIKUuyZPqFhGPOVEmV+w7t7l8L6uPLhRBhNAp4U8DUD9XeqE51GTM6gHcS4hSSRihPrpU9hOeqICJa0huuoGsXQzUaMnqR9UEEnZrL2Wm5ssdPLL5F7CdntsFjWA+vb0PpTJqQ3czFeHGIJERRSodIwRei8cWVXB6sjF3dHrK13XihNIcf3kqIM6qhgWwtHovjeJar6ji201Ylvh08n7w1SUZo2AJa0ApzaZiVZK3yo7+2Hn3aBQP1L3pk7pZr7cqPzG+BwYPXFL/utHc+34SQEJFpm8efJF9jifMzkEnzsND5CEJlZ8s6NPsowkDo/5lw90u+cguwhRhoKwfGAUU67mQeUd4ZMCnlAbKfzvj3YOY/4Op6ut2YGQ/N3IIbA2y4xcViSZ5NaMfhL4BYrqqPpa1j8SQXvv0+eV+lYZWZAUPTy5QlEJUZlAIj9yApCI3P/zYGh0Bs7VJUzUlLEgPPMiOJxRYQvo01cxqUggCDDdx8hUhZrRBwDWRsYqjwbR1QlgjO6m67df3vwskF4vYwD547zEyPt+XK0Sp8Z1cUNYB3IcMSm5PIWSiFWZdtNRAARwQxZCbuabH/gaqPrB+bpnG3dclztObDjwjlVHLL4kUz7fDmpxzqQ/KAQ7zqz81aejLY9K0JWO7fV2bB1FiLwRAeHfaM1Vru+d7GInBWY7kDb33kbk1Qdfb8c9kRp8DNbA9200yHtkcKUIgg5CvoEItcLL7O8BDY9oRxgjCO+rUpwV9j+cwScRAA4/V1oyLvq+Lzc7qxKsPJDNqAc01xtSBxLl1udqJMkRooTyUPJNeGKQf/L/5ta3dM7M/qkguARVglR+i+R7PBlCOZeDBXBHBj3CY5SnZH4R/6EYqC2OZ2DnV6UmQuEJgDWpNAI6Rqs0Opcf0YMqnM3c7KkyAzwxJccHbbS86JIQpElA6MQN4LZAzrwnMj045IWEzYXGou95dlMSllBt4DqbIKK67zuKOaTcvcweVRtTWIZEK2L1Q6QEAhTscCR5GHK8dc3opZyNKxdEqGOKo0puorzg1Afk+UvD6U+LODR/timOXzFYkMBoBuq14JQS+D1fO2/NM5q9b0Qg1ucTq5phWX/YB3o0V9/+xb4oF/dHogQTxzn+/ehXJ2UvKJ9CRwKtBx6c0o5SZxKv0E5T/jX+ASqc8cpk093xeIfQkUNNfc+H6NJ1zGkTCrMbBSjk7GiEaSq6G4d3zMmDJMDe8S1cZCp+yg0e9pW6q2vSzuV6oT9Nqpw2CIlCiLq9LnrC6WQIAfNb/lxj6M1fJwbRGygNsWKAA40sUsY6lhGJHR8KVjGQsEhntwsvz94KGJiyFA7BPRymO1NTfmtGAj6hQlTBRZlj6lXOoX3YkYKNsyTK68xUQvk4YGJZZu8GovbYYdndGflFez7uR7DipFS7svJ8TV7djrcNpdKQFpZxfmb73+TPXB2vLjkUaM6D1RohPT82NJbFWAlpYGvx0WH25/2tTisn2BBqnzwA5/2MWwt8uLPjtAwxDfFhDJlGD/ranzd7PSccXrkkLJ9N6+ZUnVdUoXkxlmFugf+QeEA2OPWk6iQPhYfUmk1bpATzU0DO4OyNpiTjS0Jbqh2XJUemzTGu7DkWp3/SOLkGLyVqIqUKZsCeRnk1qN7/yGkvukdS+HmbNOZ3/FCBDbvZejtX1fsFErLnpkocycBo3AvSQ90GZkwCe38gNrBqQKz4NNFmrB3RgkxA8KktZqMMQMMJp1aW2sumt1sRUZ+axCDHTuAx07397erjvVfBf1FSemKRSgpEVMEFTb4SVU02PJWF4Ib5xrjzk3Kn2zfsRwA6ScbkzvkokY9ffZray+g5MInSuZ5KDlhLu2rv8cS5Cmz+50VTYcS4XH5QKI1lZn38tSkotTJ/IM53UiSaaw09v3mG0sMgHS2JVtMTQxDVhgtBqsa8vx25yPhI9RExnc621m8XIznFVe5mmfWE+BHW+AtjoDGgEJN2MCJsHrAWkoy2ZyRSTLV7pu4BL1YiYbaVlOCxL9jvsYBAtQDavqberETPErG0gsXMPxBO9jWDBem1iR68beSErzIn4mWApuL79yvU5T9zlTmxq2RTsoa16lWOwjsORQmK8HZW3x2DSKKmcFU09yi4QEjkb2jfnFO69dIIUkCRLRt6Apj4zIJL4zXMuY+/td9Pnj2Gv9Z4xwkgv3ULAxGt6S1yt8LkaYtwtgPJrUoOo2qX0AroaGWq9rJw0h2dSGqAxaaTtCevvydBX9kFHtaA7ffOT827Fl1AKlB4GzDmCi328Fh9yzsE8JpGQLwwvmVhD/j8QMyHSGequLWXq8giUu81SsT171z07qgNiB8US0Z9ycMYTnAoo3x7p+VvBdscwF2tHoDYl2Z44nnIhcySNpZT2lgLH8vaeAwvzV7l9mLwXN6zPo4ftLJs/B40fHgAWNb0GXktz2mHIf1HHt3zrlksFun27jZy0aOJin3bujdgQxqnuXtt2o9XETmS7qp3FqX3ozCBakr2ol4mHNQ1YPbzqJ1OhoIZEKwQZbpm4FueWRnvHUCjXY3JXTR7bpTR8AY5f/TGSq0+ZfVdSyPlYtbFw2JGnHlgnIDw1RSZHkA5gThtywMsnujY44VQ/Mdgzx7YdcRWEBFRquUXXcwcSar/RYGg52JcGOcqF1J8dVtO32TJ1Rcd6DT7fc73p0xMy3anmmlGH8JQeSJDhSDYhTrCVOTF67I5b+bGjgPBrzDWX6pYCReGveoLeh5MSvzLBpuvWsAkT/fcjMLVViaobodAZE8m6Mjdch4Mnyey7r7FFna0oQfS8ZqV/b6AowJh45j6xbJsfqqhYiwfMQ96YORZzBbPxPer/0QJJzicJR40tsYkuf3QmdRtfHMiFfhINudcKNFbNwDP9yIvAUbbBvOwt45hWiCXnwyqYLK0msNW+FnLU0XzWwQB9Qtumsiq4/6yvD9szz3U4jmngXDlwRZ4YHyHbRiFAUYL7Avghfg8dgCkiNUMBF0DScoKdGT5qnSUlHC4xVS2k7LZJHDWGI4f6AO3bnNx5jrmX4cSYVa5XCvcz1+gAeKlQYb+gRhsw1wLe1RajKXrj0B71+wJ0lbvfNy4gOeF7ct0V6BCGchm0FQ06L9QKKxWZ1jmjMerhgAnp33rtnYloPKUdEJv+R3m1ytCEHPodRAfTMsvhYvfylppakvnQ6CmeWOS3/7y8zJj6CMJOv/QS8XRrCZdnzP7bLgpyf3/cQZ6c0ukL+nR8Xx1klWbTEli1YdyZtrWi+8Y1ed8N0MOENTWkW0CsbZGOBCtv76L4oOpRYG+xDTPHgyG/Vtt24lQ4iU5CnsMmVDtO1kjjN5rVJKrvXxDLO9gALR9HIh0O0TLCOrId5iWVpTGbIVpb0gkIH46vgQipXvtLrR6fLA77F4urqXQSCJz3vslN/cFqjAXlv2zxwGHOZLnm9k960UfNRleymqScFTclI0wY7bnC+Z4yFhPwuhlIadxMcIAkeNFzWqve9uz+d1WDfPE1RZydGDw54RdgQloJu2r81pllC3JDfWxuiWVBkpEEBh0YxvejCb+sd4aWXlh8Gx9ZZuyKdfeYnvats6pL7FTBDjlHfi1SHkw/TnkTwqWIFRrfybFkWDSWNhXcbtKf2FDEe7D7WBE5aHyA6XTqvehhZrWXBQvuZkIZ70g2ZAZesrMW6F/hwEncE+H5BWUxeGXcjPmD11HBQVkUWrNzXqKwyzzryZNqnD4yremybKUfn4Y7TWn9u6bWb0i++5NAo1z16X0+N6Xm//F9VB9rdocl/1y3XaRHQRmLAbo21vqOR866P/1eCVKSB1j2HVGNOPD4Jv3k85RjIRr6/Nfl/YNL6+6PeWuv96yIh4oNVLhX8ZkJjDSGZj4kJVMa0h/Pd2oCf82x9EiUj3xLun+vEa8AaHko0EYo288ljPpXoaAhcvJUc2qTNYW6HqVO7A/qt8RjbWk6eV/B7kW3RzE66V2nptDCDhwF7ns0E1j/ISYVa7Jww2yvRahWKXqBJaeDRHCdzMH5mfYYiDpkWSfig+0mmmhIEJWhHRHp4pJBdomqHoXWZFEJLsrvNMNhF2RW4DbynaEJI+QIZx2FG6KgyPmOPabaemlOZKckjBd8JmeuxRcR6IQyKWzxIRwGESgBBhnlyoZtGkQKC/U8VKbcR/eWhwDffSn5PldkB1C6gJhmIQ3RRA189kWdZ3h8hNXbg0UAFYycvddcKC3LVgD8xTXI3jKB3NyDHO3Y6HdItxjhHLtbqA5IK0OIypD64H44e6IomjM+RsEl+57FhkxlQjeZJ9RoUmBhNQFGJjdO0MCP19jbUhHkQ/BhqVudzYkisnaKbUdibeRp0oJGwaBK+qaxAuT60oy6tTxTT4PRyrsvJiEi4Uhv3gXgmsfWNeDsW/episM40tQ0PAzBKo9Cnxl4SoV1NltYf5WRQY+8agoa0fnqijxVLBejTJyFOAvyBfmG+gpJQVK86J+fY1vg9OXmhwDLlvSdaz0l9omHTBRcLoj9Xl9zni6EvhPn7d6Oo+VEebU8BpbPy/ckWUX/UPSI4RZzHtTQxZKQBoEPMcrOn1niH3TcgI2tCv5JZSXxttqzWCPPWiLHx6GQ5RJ3DYUpZYpGUl6lRlNCgF3yobqd6RuZLoO4ed+lDkXZhL82RkKsDoyImRU+ouj0cg+IRLPzWBzwiBdXsLUWWHnbTtNs/7jTlk/+ExQ6yBX6krhJ7fwnd8CWNXFLNtUcy1IDD1U9yux5uqlTkTMfZtdlbLQWxUcssPfKzc0Dj7kQo2xZAtCEJyUvWPq++swm7BH1L7YZb/wpcYkIiSPK0vU/5CQVB4T2yhWsCLFT7drUSJWYybdy+fnnaZ9hDLvtpAEFousMKOrDU8aAUD8mH7eyaz9Ywxz6+n8NCbb3fb9J4mML3YOYUYYsRfWGLsUJlWV0E7AEJC0ng30jD3Q52DMXfruM0SIA4QsXtkZeBr4YKrYFcYN/HTyidVmYWA1cvHjm2v9ZT6IP1PcJ46kKGwOgGCwzBRH1bwTrdj8sFAFk9K+QDyOATZy3Lsxkf66efjNgxCJOoFGwymMVVfjD7jMr5R8WBHJqZ68+GqecgkGCKUgU4OfTpm+kwqV1EB3tlKUJ09mim0UOe8cAQAL3PPk8rzPSIt3D+X9JEe2XeJHbpaARwRDRI4iQOR0KRLW7/eQ6i5MyqVoZYC3U6RHH3HbDC2KiwWEkbTNYbh4aq8uDx/KjZzl/TiMmW5ep1t4ZMERAFcBYcE/ZRfob2dbQmzvJf9OdVTjcA4ygrAj+xJk8XhevbPqVxo+98iykO4pElHKMvkwoByb7DejYhnt52KIQsVl/ktcDI0zmkq5q7da7nJ6gJf0xVD2QrlmALSxBKjT39QBVDklTDPyyvGKTIcyZ9AmRvfAL7LX2waqR/LomEXz+V1fGvfM35dS5HvNm0MzcXpAA4Qxlvf/xap0wIhRfH2PjpUoj25njQNTXKM4h+RsyXW98UR+HZ/v2nj5tDcePWYPpFj8TVgSSIHa2X4HomFZofhBPSScw4eDm+zvzysfYsbaZtbb9pDkmQF3ylsp7xLqYAr11g1nmb6y9XbwfHBolsJiqA3S/wFzmsBOP+ky7Xo7Z4T/jEggfbcFDnqyluDxQn7OxRiWcbw79e7SWrEqFE5v2Uf3kTPs/5S/4JZjqgm/jKuCNbyBn37uSD+nPgrXDyMyhUxXX4baoEhUE/RcZRaA+Q+KUcSHMlf+hwQNlp7usNfxLW0nEjxNFH8XPNO4Cq5+BnN8QslvAuWJx4LD8soBmiAf4+rLP2TxclkTBqzySZX/14VVC6B29QOVTyijen8aH/opaNQuX/633lfC15GKwA0D/Ru7Ovwt9CbvHb38CW2liFGSJQ6Ncy59A661MYRa1HYg4xwGc+ZWSLqlqn0WO3jnzPyS3td3BnxJ6ZSKrP2yMYFytXkx5Ey+RDpwJaLB3q45lKXcX29eY32ld4Skk7CAVtiJVpoqgXR4fNN7oUgVlWH6yRi6fPBXXCfXqakWPZ18zKXH0ayHXIdjyoCOGbS6n6MKC2OalkXveaV3Wmzxi8RW58gJ7slWY7IPRL///gtqV42lb+Za5X/G5H0CXJcLOhhJsIS51RFoc5FK/ZPsZPGGUzuXJuKCkHw4PR221I7JUzULlShJPvEa7FkqZJpFxXA8HIuiecoXPTmlw1xMpa/uEM/LWDRgKGdbipDVA/mN2atBOrt8qg79pAPF2HYSsBf3QZqNoPaFP4ljsrXH92eLlRh3uDt5oipY1LPh+ulCJCu7fYKJFjijdswnvcmUZ5AMHD6iEEu9KymlF25PTo3FjOMYeeM05/tkdk0Q69RJP/QSro9Dmghdqj32GmApc7Z1xT5aTtGwiGDpej/ZBXpU1e+mB/a+8SqZGUSRMDcxiFtdu2jBCbyugEmJhfv1HSMsU/t1cz9k2Ny8UD7pcfm9VR6BsX4t0NOKkYSbAjlFVbHDAgzW47i3vH2D4OZ0FG6q1u+2BwXkxcmqWRp+FyEmI+/CPmEgImhJtTaHUlF4ysQIidWcVWKf3ZlXtgfHB86KZZzzkql+0h4fGDkNK0FFXeqFXkBPI44tEcLpU+K0093oN3v7Pp1ZnLApsIW3pVJn0fOuFjebFWyDHGaSWeECsQHI5gRq3QWiNRpMSTyJu436zGxMIRgMGC5x/OOv5EWNZambFINWlHBP0TB9AJPUSIxPxXKmJyyX6PdLnC2h4Cdagjt0yQ7U3etvX9DL4gaUyCCYhrs2hpvGW2XCxZ0YJ5nnxeakJzsXdA07Zy+Dp9wNmhJuEIY9b29avGryapa0c5VUjSW+ZrYmI8muG6wsPJKwYtcJbecsDygzWF9lipR17yMPA6YjA39EWmH50WCItxAk3LR00j2vzkEiwbuArtKRaySQk/mrg/8/ZmoEtyqG8gnantRlSz295/nm3HwB/M/hBMyRUjd4cVeMhwR93WMVE8X8mtAIW8Ea1FE3A5EkcUO5WOZg5xm1MTR34VkbpfpjFUGml1HB6RWHrWn5jOBSPbVyaslhQ5d40SoIsfhVnUETHSOnnb+vrI0Atgmrs5ZGBdZ2Bk0f5yBIjHUz9pkYR3+D8T6whE2uYkKMqRUmsQIKLY6XkFoIfRq1cXsZeJn/3xdgUMF4KIxRsw1jHNOp6I9r9oYAk+FUqvzW2703DkTThxzZVYUdecsz/Nl+oZ92HF1Y4MMacDrFxLxnDgtqXUeqKnjT0zibSuUKSZnwtxzRKqK/x+j0BFV8To1zW2xfH8wiH4JkFtsw1U+40uvus4vRCqwsZl0gCZfDwuoJgikfqzdzSRH/Qznaf4oXiaU8oZiZ1FSFMjOWRGNdGmVQttnNl+esFwYMarJiyHufLKKDYYpdwXguhl7Ihg2qpGs6IOo6r9EFQcO90Gj2YxCeUerAwkoSlwZsD68gfFk6EsBzym69l06WP3AhhPe2VIS64clGoOfwuQMX4XeJwRPoOBioQhcf5fgTcP6WtsiRu85PWy7GcRV8k2oYepsOhicnOsn+a/SVDyWEfc/akNbEoM7KzDzgYYg9t/0rRiA3pm9MkjQGcX/JqpY0EmdWxxndtF1vMy1ERqgMvh/CIOTkdqa58ScQTk4Bf10jnTlKKJIMuy7dToq/sxhiW5AT0FoFic2p/Xo+T0qX6C/bSjmknS/iiFlImRDHQeWDoK3cbmpAczk62UWkNBAIJ8vU1OnRL1D4SK5D6MBAlzl5TaKZz6f5KfiovN1tD9IN2faeuJdNLLgmdcHoDnNgtR/S4JHWYeHC+3JrpbIZ4AeYePYfvcpa25DzBhRmZqVpS+QPar+lQy5Zg5HLZD++rPaG+HbqXjjBhtHe6Dor8K8KclLJ5udXCeSS+pV4bcujXu/ivsfEnLs2Mo7PE+8uxSU9Zsog/m6KkLiMiFJfmBmWvPodjRLG2Y01b7hy2LyOjpOFn4gFX9/ZVHSspqT9XZmFmzb6keEFDdjRJpthHncHYrzAvSsz9S8EVkyUkn2sfVEErFT4UWz8m7us/xqVB3ltHx2kIa6SDvX2z8040quAV5MjvYQtli2nUQ/OGEDln6AWjwsj4KcIEuQq0GglKC5q9TeuQoKsaRVAholoDEkU6b5tPsrLPCSG0Q1g5WzSJ7d5V4iit4YwTBeazgecvdwurLn6KpL5ehLVQJPxfI5J0D1CYWSyqHqUfXHhwbQzVVjaIGlmhVfFL/+WKCrmR8pZqHEOLQooSomJfpBdlewAO42puMXY0CAmAZ1WzS2K+ABeEgrS0HotGtvjwlf/LAtpDQvknb0An0wo2UkXVyxkDfmtDSVg9Sfp/oV4vWiBJ2LJD7djrX7lWM593MH3annPZIxRUtqix57nlRH3ZQ1iAsWtgVq3yGA8b5mm/ezLp+7AOxZmXeo0o+J5G/0tVNiPZX61sOjpJ/RPwYJ3+2ecKBAjm2e7nHN0jygPjgggn5Wtsv8sKViKXqg2sKPZBdyUKVOgTYSu5jzA+WIYqglbGS/rnbmzVByaY0zoi/dsrPe6oZSyXk2U5VbPm02B2OZ8ci7FVQ4O7sNsyHzlFr6iIDUbMuBWuFc3JVqk2Uhf63YaS9CURWiKW03A8PMjYUKaBwIDaCtb7bear17LX7ufOXUH/g9yv99/NNPfOlPzfX8n+k6m70lv1+1hmvlPQNRvoPNoo6aHoTVJXF2m2y2LWtwTvNqkA3aF1ieVtxUoMunmoEkQhPg/9wIRynrtWku0z8MCgy/CtELRWsc2LCiEgRWTbkIx04e2wlhmkj3P/1b3kJaEG4tinhJ3BZcyQi/yq/vVyZCwLXfgUF4cecCVtp6jEEZEh/ygRLEaKZ05VTUJtoc25QAyr1LvCOlc8nXVpS/M/rugU0tDuN/yAZ2gqXYf0C6bH+MXXWTt92SLunXvekyC7yjtC8IK+3SjOV75UqX2Gv0u2aikcfSQbRw9Z78iDhd0cjxL6mhoZL/zR/4Yya8bddGjlIIf0/kfTu3cF/+ZfQRXr1ehDI4xQhddhXzsZN/45w0tpgPJKYYESjMyIhHL4kNECp2guy2cPUhpxNkMWQS+RQIQqKm30RWriNdcVJNz3ZppmTzCfrLGTbOnxYbu4A/duDIs0/nITY4reKfrWLkBHdqU4PNbNx/dvxSuhRwCiOgylpTMpI7++FZQzmyEa9gvKQ9vr5l/An1PdGlcbmfkillFpyJWQpsJDbmkxz3urNHJ4/ZKpYDB/Q1+SSd5gHKJoqNoAA1+8oPjL0FjvznDHTBm76S9f4tKQ4iRJDuSso+rA5pzkylBdmFcY4BGprLeS1pkyrdWgEPDMIkhCpwZVtDQHhZZR+KYOYkiL0EE9mWN1t9ZT5Mu077b14oiL5N4oiASk9yB0nVcPQUEoWoTUrIQKgpkCRmXGbPudVKRHN8QjPnUsNpgHbL6wMGVDKwqengG0G3ADGAg7cLsP2lOzQhDecXG0zIC/vQqe0n+XdAAl51Ifgv9n95tmZZlOq4ceb7Fu90L9OevXvKF67kFpX4Gjei9crp56tqduUTQ14Zgcs+VbUkDt3XE5SmG2estI1ZmEHFWxVobufZGVdU5GCkVTdhcyis6i1uQJekOvnN1isYS+fnhgW5o2p4TTVYHGT6TWVVB+nz7Y4Cv/qDn51bs0T53aiK47aLXbgboGKZk4f8099RYUNuPT4RW5J+FCZOaa5OU8XTDQ6kYBeATMnM9rSeIPliClrAJhpMcJqTT/Q5qgkJiS+GKIGeIbwoUVS85NqCMuK4BrVQq7CwpEwuDuw3PhWzgfr0N0m5hYuixEWB/GiTO9eCwuF4tYHrIIylkGMVODoe/vbg2u/UghiuY5Fn0LYSF/j5shOhQkdRj27vq8mx6VNFaySaXQEm9GGeuf0aVi8zLdQrofMchBqlzMlJcBFRNJH6yUIS1tF3RzhqpTbFaqXe3h+eMjiR9ShalaLmKR6xk3jdPN09H9iKyR9rvk1mwmnxxW6MGPvzFX1p9F3KRtCNvgwxLA9SRg+pqnO1bRVIeRYnvFRkQdCMDw1e8bOjVyx0OpKqkVUeWRbtwnQ2S+Ds245o0+hNIeWXLX7OHNRsiRHLVDIOLqF2MghGALfGp9Z/kU6Tq3DBTHx0JQanH7PFcXeXd9tUXEE5ktei6lm2AcxU4wkA4NiDCg5QG0LX8CtKphtHSSqqtKhK+omnuQjGTOGh3sp/Cd/272sN+fHA9Fq/nKXL7jBChEecPsaY4WYNtaAX970A+MgZrogn6KnP4l2J0HAWjYgyZlwSP0kvpHd4hzpC7exz2Ihtr10gTA7n99TdSJVPHrZTI+KiTR4WAc4med7kfT9jcXUGS9sOJe13PEsYIr62R1OQKYrZqsX+Ivhefol/CEp+q+GXUzfx7OihER7Hol7Nc/Pi4JxDPDs5Nbtwzd56qx36IMuFQ6pst6Oyr5nI+0Rs2O6mmUkN636mT0g2FLhRckSePn34XQT1fOnyC0gurM8DTY8tEd6iIShioz5B07LwnfC+B3Ca86updAuCFZdWtFImd/E10LAuXsA9v610DNru74w63fxUDys/zHRLQID6n5IwdHMQZh38LaB3fNOsRQbPpReU8NWKcZoh+ENNQmrl7UbP1BG18j33XitX4gLxQKMLDGHu1YMXZ879DYtcJ/vis01IsWVOdAwU/LmNcaSCx2eizFVKaUHq6FUspa3qaEVBKLR58jlwHwkOhDFsNJY3rCm3haYhnsHmBi23mQO/UjvguXA8rP/ZLulzs9U7NOHjTsFKBV9Z0SAjwEp2jA6zERWTNiBfRMs5dV7eHnOxuqRLgohj4fBAg0NLf3a4GnuAA7Cu/y2GApwKFxA1y01EANuZPpzQkPJ8Wyo4tBK9HVm5YL/6FozARQ0KDkW5CX/dbUSjEsP2jtzeLRI2lLoXlgxDUtXZ6y6qSA3g7GJEtMkuueP6jQJGxzRfUNGz1mq0mWD7RJHJH2UmHSKO4wLeqv4pZokhM6MFLKxAV0zFxKXjUcee+fP/nu2X3x/BU2yCG5oWC1Ij/Ktvi8yLp3NM+27tcsyRb/sWzVBfPFTb2mEKIEFZcNrnJ3IAOdLspK7fXntlQJMiO36kvlxjrqF/1kkYgekww5pKck8w5mfJtqBJZvLdaNQCwBaEKATMrRL0O7xS+P5ga6kqPQm2Ea8H+BbF1pFHYaBvcDJ6fM8zFN8QhBwer8m5xZGzy1/jGjIe8idUnDjIMZXG83b2msninP+Mu6KwJYf9UdCJo9Mod3E3zVi1s7gEibBuDtS6xsYTFNVEplSzX46cq0Adee+NDxL4G0laKPCWiLON+LEogypAKflTWTyObywu6HrKO49A3xb6EHzJ2H1lvnh0yu1dqiUhAwXzBnI6JYGGdrFsA24LY7poK2rezVV9YoT13vn4BF0jtAnprPDeP1Rqh2Py3fno4s1iC0jlO4xNYlw2LOPwARjwImlWawz9+lDIVFcaaOQCSuiYAZzfNvbEgsnHGTGNdMI2uIqi2f0Kg2AtOIT7f94HMatGO4k9yarj35R/zasq19IhJcTgj5EwNDr0TT6p3u6SstMVn0HSKNz4rj8IcjIfHO8tW5Bwf4n+gapWhSXVxvMKHkzplU84vezkalrA2sTO6WMun4SA2n/e8/uWZ/1G4cf9Srx4XUqHr8K0V/GvxhP6vJD54TTTA3UCqPxtGsU8y51DvdPXl9/nm/qH5mG6xK7IQg7W1Iy4jxp7LtpaClBzUfFkq+bfSekevGOsxIk3sVvH11v3gzoadgfFuYItpDMDfpMaOCziAhQ658EP7zvg7DfGWCkn0oqBFOkd8q+H2a0NtWKtqcpku3SiWETIt+CieTl8xPEfcUhyF5IYL5roj0K51ouE25++Qxiz+FXLimDjIpmuEg9vgrkBL5el9dslSx+oazLmC92vXe1AJlKQZi3fUt+B1jq0WEgxuG6t/rVcZnk87eLDP08nbsCre5BBQVWMXcFqDwlRRXrnDH0phbzzejZNDBhBnEoLUnQEaRygUOVrlyLEMD2p5/pzHO6R2nO7ulDkuPMRV61iTJ2yG4c71CFAli8KPX85czq9AswpJWzOx2/fSroMenPst9NBnsszjA69LxAE1/AAa2L8mn6f/Ju7OXK5yU6bmnMqiJerXD8Cgql7OMR/BSEjshde2/462jko3TyGyrfNZ1pJYCrdCrW60giKnIvMexO2MlQfy6dg4G1E76J2qSGBhxaSWUyvf5JSu0nDv7E1i41to1rDv4klIuL0zqLUEZjt6URLk4oiQeT1s89GGadFnxoiEk9AYz1m48KlWoB/ZIatZBgN1sdCKlE2NM5VNjaIk4Jjdg0YIrh5j6VSRywci312vxW7UcQPPz6Ew8C6zz9JanfKJ/arzPrGi6jqrrExRp6ukmYlhlJ+aAcLu83OSl+o49/PrbN0wvBDzyi/ClMpVH8FqUJgr551YES4QXUtC0dZvqOjJl7QnI9Eufab8uMksrI0GfP+eIH8Sr702mJOGewo9RYqi929l225wp/VEUXnfSwR2Dh8rNSAwNu/QnKwVstzC1yQmUMOnkb//glNgVNuQV8dRaEyjyzVNKS4bPa0cAJWryzGJ1VRCBHKg7pC/dP87UO9Ck5dXlgYlmLicBNIwxvIH7DQOmOUrB1HxB7bqxcsznvibqXdGB4e2V1C0QmBVKbxvQoZ9T/tcwqkD+luz+1BLi6Yd4G6wgkYjQD1LSMHi4pEJ3mIWf8VbRdRaSkJH6iuIXwm+1yuu5H1ZbYc9Ff45pc+VApxLNKS3aHp3bnINJicH/zawQy7l1dbXyXKoe1ORS4aRgVzQHzbeSk2xBsszqB7qS40yQ4KmIo0p7MZeRyXODv4eWGUo7M5WKfP6qtynHRjR9b/+j1mI6DZYIrtjFHRtWEMU6RuVELqUVqfF6Wpa/Im24seNkjCsmSfRVO1GjrDQWAgz7qNIaEM/WOEf1Sg6NR8aBKgVmOjbTY9rjZs2NaP7rAmRZrli6FZlLc/aiGuS0rPQOpHqAwtQSY7JhCxbgZFtlJm1/pVUoM16xil4cWQxnsHi5/RnfggNdQWc1wWjEbp5e4eIH3RB2kcVSlbn/vg0IafE6Erw1uRsszTiONgqyLGASolfCOSktVNzeoG+VwEOssA41kdF513BJCsTgfSe/qjVdxXYoVdXlrGhIYnx+Eseuimlzar/4J95hLux0SQbr62Om2RucnVFpE+BU7Va28axQpDHUoF1lH+Wr8iS24soiogDnS+19jFtvmaqCXGQ6xjK/2nHN2edFtkR8MBvFPqcIMCQL/m6lcToJ0y5C4CHBMKsoLmQbEPfXMpfaheiFykR9OjY2shCM01Tck0DCFyGX1dgDshXIxNyTrP8SX161zoZtVjaO1Kr+ax4ExNokHASNZMNN5pTfW+it2j2E9Ynq217aol/DebT1vsRe7kfEsG0iCZZYJ2XjCeoEC6zRt4rpu7YRilXf3nchT8f1GkBl1fxcOEbPV3zCrOzCMVREcaQsLX/GWrmP4kHyydF3otZ5p7VH+D0pOOZMBEdxfp3wOeVAVoSG2jqzXZK1Czihmfq1uq+cVOtuuZlZICSn200BeRBbzJWqcNwH0Hx6xPgS6m57w5wEUei8bQ8U77xThP09DqkgfwD5JlZqeHNtLU4FJCIULTw5asbsGh5jJ/88iPv6OrZ6JozMU04KfyoJMcfhD+bldagVunZXLeOK7YFzoH/0LagqI4BhO+b+YJyqeGUgeYp2PJ8ICyYPWhrAHQdDzF3aMIIz0odXOpy7pFToTmYmDkQPl3xz+trR9leWFpdM6pvx8S4cqkz0ypld9rs39wXMpW9IZh0JITgMKJANH1vvAW1SQ9yub74FBwIaQ8Bpywx1ricMkD8BHt860h4xoDwoUXpn3lPQk2bGRFId9azPrkOBSqXdC137EsYdDs7WOutGMWCnpRZ2Mo2oDRHPoYQCryRt4zMm/Df2wUb1okOKpU4We5+A9u5vAnNhLDqMIe0qT0IfDcv+MByYM0FEOwgyJnPMplA3Tess2y+tLNGDixH6oFsIxsIh/dUkK3OjVhBxE5kbsTDUXFTfKjRB3nFRWhbADz+Ctpz+GJtQXQx9XXSf/ZdTWoZ6n7y9tt+4I6MLlyhHQ/8jzkgI34LXi98tMLcbevPNdwzwx/upaxuFJL+aRba0yjtXG80VSPXgkdWthybALF/Blqng7o5V/+zbU09rc8KSMk9UVNYZUSDKImv2t8MawMnA4dqjKgL9j/13PbylK/991MOCefl8pQwdjtIAVJTfvgeixK1MaPf0/g/uXnNAy6d3h5btzGXTOr7s7gyuEmrnbPUyBtlzKpsHbzyjf5es/jH3GQm15rpXo/cwYfn9vYrJpKRYvroAvI/PQCX6jtuWHtOy3pHx0rmrcbg6Z9NS40+LyzdEasongPHgWcimyZg2YolZ6HSjTSIs74Dz6KY8p0heXYtLjWCQ4HzjC0GOfUa6MN+HUXeMXqRHgMkbcg67xDHsja9Q5hnR8gRQ+gT2H9yWaRgGhxeQgMDWD7/azL0Hi3OgtUK8b2EK/Bop6zsuxLicklbHOReKQfOaGSpgU+DNZ6/9CRsVA4wGZUTghvw5H4b6tUPy0qapy0YRuszY+4Agstz8K30rTNNTo3ZwSSnhzH1ucIrNDOz6+eraGmR2KmILtr08lWAaxOsSIRYqCPsnOyPIhxUTunTs8YULfHBM18BIcN1ZDmXQyRrKbDljqvWE2ZxWx72pM9cRKvpFbdtSbfzbd4UYPE2h/jT2zMIii3hDv5OAemqGNJ7s+K/Im68vflt4qXE8BrZJXAH2J5RgF/+uQbk+CecGhWhAxKj/X08M6K4ubkhz/Lzf3xx1jYSosWEXHhBtwHzBRneR70O4gUCwgoLZ9nBp3I+t3fZcASkPAbpJgQcJLtmfKx1jAgSvU41V+ntK/G6k3VPxRRN2ykjYJGFP2z3c1cYV4LiTVXxqaaaU29rcAes6SWT4LgwtHwJtht7kYzD43aC+yeKqjMxREv2RjtjglchXbqXmGbXodlCi1WL0YCL+oJN13btw+wsowd/5k44dd9X2HuujtTqtrfsj+n/x8Ht57MgNEEx1X2SD2bDXxARAzQm2o4sJ8gW+CtfR6bWqPu80qaG+QGGmMDTSIFa4+t/uLouHGokLNtdm9xuC2DOLFiTAxCi+lsk1xvwu9hVpnDYjNXqwwmg32vxko8majIm5FGJMdlkt3AHNlDii8zwfS0q42+rqJYhRTtxLZ9amVkCEFuv2zZRUUZuO51hoZM2x7djCvZJ+SKpcLU22nJZnAxTFE11LwFo/c+IKKSeBUcBQtKgI96h2GufkQbikFAU3oTPFE8llz99nfYfHLp/V6G1GxhofXTqpnei8mgGr6CQvSIvsYBnQivxIE+AmbtLLqGn9Yju0C+VIAJ5eRKsHMem8iLnnBll6bSWJXvAt4lDJuKvAR6uJr0vFf44mWWY0ZaLD2Nf7KCYq1avPh1FRQMj7rHU48vKm6oPgQAgOlKTD0vdifAe6h6KccXIMe39GaRuHdyosNzww1nermVC3aB2Wt8zTgQ9GhZyWk91gapTLCZRmdccG4Ua4kcfUpwLUXbYBaCS7z8tVULqaR7TMecBBLWgRnpoff+TJpe98Lq//JwongGHmdVsUuHAVhi5nWMc5jp/O3jj/CFEvHCRmSzpkGZYthfHWN5E0yhwmOCerPCRX8PIAUOYgvWcFf6tZfBXzn5yxG4EVWdk42rjqoHI0Ld0WGhhjkn4F+Zz9iYqmvKl6hdS4EtgrLW19gl6ioXVLWTlSTPUu1KrQthwPju1yvJGYIuZmzrlg9GTVg372ER8/E6RSTzKgJV6toeWabIqN1dFg8sW3ObO2KiSDJT2nGRDn0lEBAspNcasAYli100pU4WWCOUBRGTpXUue2N0YT33B50UEoI4c4NDVJyX2ZoaZqXJi9/XhT6kUz7PqoSmyrg5VKXuHcjRP/7L33y6TjT9iJnCz6DAe8mcmu3P+svrNCw9S02OY0s2QBg4+b6odJ1eYIvqb0rwzdPsXs+gucHLkt3DHYWp7/acx53u2YUJzF0ygdCYC9RQd+NoTi4htpslPV3uTi9E6C1FMbjXtjSd4E7zTQS04bsj5Mk91rFj9oXBSB5Jm2N5EbG1tdJ4YPLH4ocjuzEE0oTHL+pssEDlF9Xbc2IwUwnHnFT1K/X2RjbxzM+D8aPEZZO87ixCLqKwR3yvsYoSKncV2S6l7xcLWJ7EP1qxmeAjJmQhbsVJN17I+B3JIG670VvyJ+hL8hAEnqMXBOpe4EsA+QwvGhv/dMO1Kog3qNWokVOLnUqViQY74ZZWCucLWWlVr5swNKfUXlVzhahQgJQLBIHerAkVosCy/DAbztpECq3kwoHLqPgH+glMVkMgK9UYBnCjSE2sRNhZxy/d4ETUtLx96PO9SWN25pnd+OBdHgHVwNCDhfy8Vf9qqlvW8SRKIauDZNRwHOQcX6TTV2R5KW1SJEjmmR0tb/tzo4SEIy5KVUIFrj6NTQyNPGwRELyA0q2S2boNttykak/B5AC9ouDU6ieskGuR25UZjvsNVYRrM0c3TKAbsYg1Sj3g1QtDcLhrBFgFzQe7Qwn/mT7bYMgltS7hVuKb07t4JRG1e9HRO4ktxg7p1QvzatAcOHutG+eLecw7+Nr5EC6jLlhTsmyr5/U/sAX1RjmY6oLQ3iBbvRDfMgInOZq4wIh0TSj6T+1xNO3pBKP0e5QuD2wvMwgI5dmhmJkOvNCgd1klMgQwuWS0j8odce4oA/Hp2AVzTWnkGsMKoBqabVD487ZBFpZ3bDLICCJvMfpGoDk5GzmHvm//4dUlzpVehRwRHAxhbNFuZfzcuhTqHW9FYI40k/uy24T45ER37TxylXcLjmbJuKHp/Z+IZSvv8EdmBx9XsotJ1dzkLopNSGIux+QXqCN+kKUkIt93vXm6BS76LQSNbeOpqj3jiKrdKZDpjfj6/f6SD/9kXNx1U0EWX884gy2yVuP2m7lSJnTjTALiCKTUArijQccKNe3MSTyLhcud+MgH28lpv7mXpZup2AtEkpOst5vJmCjxtImzgcwjr0Kdg+uNbH8uKvsFO0bRE9jcPQXIuvzPRtNYhs8qny1WjSXspWnnqRD1FIzeMLdxsa7HGt4QcRta1eadfad1KECVS47LkfleWFiiC138ges5rs9eex6JUz6jm6Q1PoB5Kev/TGOPVW1+nvtPl1nuLtWobpxjwHh0dvu5LxkBfIwplGx2AMCosB7ZxOPXurQ9cM1XuCKzu6GRi6AfyiQAw+U8MFFMcopL6oLMA9qxkWda7WUP+mjMgq59fbVYjBbXETH9SYjqehSIbnx40lTGiNmBdaXvyDTb6e23sIJzmkyYxXMSJApVhGifHeTAh4N6IInx8SYo0T/QQhW0Vv9xUATs/eBTtYlZ3MAnIWhqhXrObRVdDwL5kAYuASyfFX16BIkB7g+8cLIvQ+u3iijA9KbSmcCfhULSg0GziDlrf4mpthAQtnWnPpySgntbNOBQFl9Dz/J0h7kDJEuxvgYOXphQeFd2PQ7kSUgiL5q++egy0OzZ4L6DmeQKzsZOjzmjqJvhrj6GlHLug+2cKWcyFRhlRE5TP8T+2fLGwQylmYYurg7ZGpNOA06YT2XoyHKzpalNRRYdfwtZ/VaKXSXSeNlEXog49JTUy74RMSg7Y7FBI+NOYYYEdkQSXnKdFycq5mTPYOy6cSto/+f73bNjPxxfPuIcNu+2bJ6iiy+rjzIyqFOph4KL8ASeUHXTNhVIcIQe4nroy1CXNw0+0OeTIaROITdShLpTJxiHhKo4IW2zoU8AzzZHFkzoIYrc5ZSUFiuCkD5nlpfssJZUEyxQcCivpwldbN9aDKiKeJeegNA6L07E42NGLJKEK2YWXluRaAE0+YucguwS8vBnjRSlD9Cj05+2nvqNlW+6HQ/oNt2LC3/I87zsM2XgLO/T1wMIPaWB1FEt7aTdI/OkSkT9+BlIQ9s5TeIY3Df+NRH+BcnRfkePajq+fFTcElLnOxWpJct+qTjBYq2xjeJn+iEFvYxlVZ/jdJszMhKoF/1WkrQWEGed7vrK+C7hJYszakOgO+68yyDsRGfVBVRUBk5wIgnGW81VLziAH4g609sFFaW5RBxhIr7ETIPNXGuClTUM0xq3DSyAYPWYQk6+j4abokU1iUTAOCFTNCvxVscAIWgEAyM6gLyKiI15uYi9HbcqszPjzyZRlUpFwxb9/vh9l5F6adiomRE9mmMzOQQwEHc50JaCmy6nJn5CnJtTmxde/4e1Xp6lFEZTo2i3bcQ6y7eDkGlaTVjmt2BlbS2lkmm87cBtvtPhmgHPoTZp2kMHTIwlKvT48iVayfOAwdV3aeksMye8U8HQGk/5hMnzAVh6oQaBxhzbRyAcr1/Pk8Vat1CLYDApZrMcs87uUS8WresRQWvAAEGwyHWYijBzvmN40rarcYrylgTOixNxqRio/5nEKHXQI+eKeyhWS9WuKzkALscIEvgwzn3yRx+MCP1btqd3j72TOvI1lfMvI13FCAWnzMOBzPE5/5Vm2mudXAbpzc6awqrT/5cT+kUiniafMNU9DKlm9pPTgOdzTcM1oWt9vZWQLrC0jz2G2D2s3qEVz9Wl1eHw7Ug+d5YINlwkkojYwN4H5yLNQrMet/3+jFRIAkK+3WZBjF6B835QwybfAi60gkxrzqM9OHHMqEuvNzrwznaPa/xM87hOERJOfMNWIHLAh1a08wmS/geneXMw5Li9G8SAKFm/f8+KQDmRxtMk2Dx0VkfazEy8a2orAC+4rbVoTvUazTFoiKfRxplS6W4+XxMjsEvz2H5KO9oyisRD2+OD+QNzBsjJkCNYqIk8RGLfFxUShbP2hPC4lY65c+u7wiRnSBZe2AZq4fwrmkyih450n15IW/mmnAyWFjWSTfmnk4d+XjwUQgyTXdsyUQx5ml66tsgjynbP5eeBR4YUvQQNZP1wwaNRB5CHAIDAztErqQrNsgmc51Gj7/Xt4v3e3VJ1wRIqC4LY5ybxhaRK8quUiG+I/bkG9vQo4/bkaeAN8ua1qadDIAPblW5XN2H/UyZFV67tOJagZvnnwbmXMvWDX3n+eh157bnaGOO3RiUVHOtussZnH7lKZuIT9JntbRbPWxqTu7QDH59Msn0dUjruDj3a1wk8E2g6TF5HGQ7Ku3XA1s/gGgwmgvH685AddL/r5MhF+hejSjYrCAFos76ts+FxnkbyJpq3JxmltrZ4zPspBMLRFzmZb/7V64ZCez1xiHIW3AigjjtEY5ubV2GyugR3IRnTrLgNQUGPovuKxgkxtJmRl9adtO8jMXxSV9Z1P5bqGACkfbpEHUfd3CKydp0yUfMMfzl4iiIrYr1h8LlUeWIlD8Mw0n9D2Aex+0oc+P+7klbO+k44NdrCToyEUELy8gAxJkBtxM5e5pxOd0jC0RS3DtSg3NUwGvOaHnOAIYxtV11hABWYDCF+WyWzH152BXjOBiYBfAanhpNtQ2WZTWOD2UD4Ul+gtvEI9QURMbnfkMzpYZZ24ZwFcHXLnJ5IjbXT4M5W9bkjX/1G6ucAqRIVUC3+W5LMNc73vbFnEapnW2SXYSXA8bTgTFk4zK4VU/IkEk1d7zXUXrr7i5r+Bt0tnUsUvSJoXIfQroQdmrnTPjqhNqAtGMACIvyUhNsPyP7QIEkixdFLfltbYRV8YoxqBirLPJaty3GFFWpaKlYsa04CVijRGyt1lva72/+TREfqNloeVaAicZkyQmzCS38MrFIMuuO8gr5QuBjpmgQ6gCEcf7M3sA6v9292NbEjkOpvD2A28LTvyk8Pk0vErBN4KSoi7s8G9oDPgmSvMlfFmG4iFMH9z/IbJfMOfimL33IW7xfLeQ8hIui7iFeL+Y8MiK4SahHo8mMuD3GairapcQ9Yb95zRMuSMrR5gluD+zjMQfQ6rxrKs/jI/JUHMpwgS7KU0PIZClRx4MrKqC82GMX8wRTreua8bpXXPY4h6ljDi1iYu3P//8rCW2NRghF8trs1J5xPGSsH3CPwmhVQgQiXxEYXbvUzc7CLWyqS70sd2rdH0PsSUs08TSGcodiNFRF420KKYkhp9VMpuV8U1jR/EtxMYo/MyI+IfDCYvyteNPlaoKf+nwWvunmqMcGINjncRgRqfouRfB+uJtStua6xfdjZ1dxuj/hOw7VqqQhYXAwM04bpY5vmOCZkqHswvhb+o2JHbi+/VQV+dGbaejLQjW6eV2oTQVMe0S/mbY8E/KSex7eAyMlSNUUKIwZY3IXHWH0GwR9OEL8gbezSi636L/T82smYV2mYgLZtmSbi9dYgjbLwzbRyzI6J5Q+HO6RA0d0HOUKSZfXak20bnR7xHD3mTICuSgWM3UuCYT7aLBUh3sjKQxaEanYX9yboOJkws6rWn+G7DJqeruYX84Iz4q63WOXQA7pU+4rqvFZcEj5AkxFnZ6Epqx1wsrzg+vM6H7goF+dK7+aRsA/AS9V6kIUQn53cq/oOPwSIM1DYcDezBBksVf/eUXXkjLVbzbKIsgT2uDPO7r4uj0A+eQKzRqkCWkW6w+Ao77GcnNa0VKYBJk/F7LQ6a3zIR1gKlxsUwBlLZU+iC0xaMlHU1iUyCAHwAJGxLZwkrNvzSeadX7erof/Hz/gbILgisGOBeqpWugWVqipmuxUFyX2jEVuVky+EF8OALmrmT3Tp83Qajsp4UAGQh1XoFyghaiOJwBsD5me7Gq+5XGRNMsMM4tXcm0QbMb/K1X7Yk3Lxi9sC2XUsr7CySA5y2sbS0dz/lKWVomgnhC0/6YDZ97dvcTK3MpSss88UEAOk1YpoQrw3x0G7brk2BtBZiTA1ItdP7w0XaWFoTo4XZhdJm7+9ubae2K+N7lgwKLZPt2JZCQL//dSaA/wVI9+lapOTx9K1InNqMTIdj1zV2iB6LFja73ZEI7U3E7jRvby5qbs3tJS0juWFA289ltHuocML2Y4p7iK4oUBEPBeTxZ9TpQQQRAgjmGmbiMejgo/Hp6E2HITvJxOb1Wk4BVDhr4AYfrHhVScrqS/8K4CoqQtESzBSWLjEcoVCdzmTuVYFzAgo81Bji0qnji8mw57mGxJhgRTavNbWZh3V3lw/yrvJcRJ1rOe1ZLYSoN3Tf8f6z8JOzSexaCCpNtiefYKXZS9muZun7T7cAk2Rq5Sm4EuVpiFQlp3A5LpQVgITxMtjPpebhmetVlDFtssCJqkE3u2GDbzLA/qtsnBuyDFxypRWP2t3vxMNiGSwIwhYcVme+1sJyrOfxa8CKwjM7rGbebdSxo8YepCG0K/iN/gK/TcYLAOJbz9GzsJuiQY1Vz7sBgvHh68aC4OP28bqyrP+croSltCVTTDtQoi1vbwLUVQtca5Nw9G3BdR5HExZYH44+RU+QGrU2mz6RtQCxwzDRy4zfxfmXR/tfEw3+3wishGrOGEm7O1YwCG11exwDBaCvx1qLhPbFSc4nKcqL+WyaphIPy5MzNKMbw/EQeH9VDhlqpkjF7U7oae+bX8CFTn3axOX38ZrtSxSmgPUohi9Zg5zA7uPaN9MGe8rFk+3wRTnOsCY3HM/bLW48PW4tPI22I2m+3ruC9nAD6EOOxt7p4Znz+H6qoiDfRPMYlv1cVWpUwh7keiU7UW1UcNvBcvZ2vKn1YmbgyvGVWNfG2m100ikYyRxghtQZyWkU/OG+AUlAiICfJ96RvTEbiChnHsE1SH+UI2uV0U5uKTxUOeIW10htyByeNzNgqulDcSWbHBSFyHPwgaoTol6phJnD9SZLGjty2M7bDR9par3rwO8u/q9Tbf6ifnWfsG0KhLJdAcxdo4ZXbYcHlOrdZSalQhKn3KCoYYZR7RG4Ux5xiFCXx0ytNlfQeb4+4NBgJ9e+MokdXS2f4M9BUmxWc2H+ZRm9yWnNYKXe4xIimezSuWmLqDaLeu0KQmz6PvGJEMksYu815BLbHlHnwQa6VeMv26SGF0wvyiIB6QnfZE/H6uqeKG9yrWpiv+DgXI2BZx8pXbEaKXOf9xQD5uByx7TBPmJFp6hF6/jc0LAo3yqwpt0QFEAR4O3tr3eCSTUidL1zHYhKPxNWjmAozbo2MWE0RdbHFMCxIwPprNuAtmq2ny6oIRT9wH31P14qtGwwhTRGubpcwVySYtJyGifad6DQyq9M8QOqlHHcOU5HTZlCBoDtsW9PVMOja9mTl2ubad3WkOiNts9Jk9+3VzPJLHponGAqMIYT+Htj+7sjak+g0TKUbIIBMDk0WrRZ56VGvZzEhkeh+9bYypVEKUrmIkwF9wDgEVR8l9R7pr/TMb9HTdgKqJG9VK8RUob4003RAxoNZOZx2QRtt6HF6hmh2f8P0t+RD/aSn99OPaDXnYHrrcda1bwo/gjQnnngGWIy5CTtw7pxcain1AzW08JV6GzhrEgCeg+9pSykLfKQToF8Ww7L9kahD2lrMnAosxHz0UyvwlD3tIUNVKU4C2YWhWSJiQzrh8Ywv5qQ3r8OrOJHWYXPI0T5ZGOrKklvuYrausA/uencs+p0jy2R0hW8tC9FqL29BIYbtmkACytO/a9XQq3A4FOuU4B/enQObIwn9ld5JSAbLm5nxErT8jCbHrzHfpWMeUUAEAgIIgzvqhfWMyRwGnc4NDjD09qMfh9QD8PXPBaCEguZ2DlZSuGa9k1BnobMQXRIcEA7oud/9OQP/r6voxkD/h5I3OIyjzJCznzq2m5/XmZDZBsIKcGKwOTCJyXy04m+c3egXqKDzsBiXXwkzJ/ykv5Ql77h1Y0KiDbQG1X4fWuUM4ZzYvDc9lFFs8vP5y7HAdKPBZoxIVwbmNGC2dWzackK2u1nubCQ/KuWbfI2HGPR5M9HmlLS2YdCK5E39xOzjLmAMDfyP/VdIG/LUe4MSEyzHyAZB8jC9wqHPnh4mVL2kORqQGAyRhtwkBQwJVFMKqc6Q4Kyn48NCaZIolJvO5cCmzdG4TvJWOerWx8aCXJTTsTK5H08DfPhJTRKaRZIa9RDVJbwW0Xw8nRpt/7FR3YB2ibNdpCKX3w78Zo6/3PN7SVQzVMXrf/T0ORZuY+IHGdH2LuhAkHJKdNXbJggISIYbzMJRl03M2arzh+P/iTedu9M5VLSz9nY+jJAAqYZ9Vup3K6zXLP+1rFil4eZwL1D9rfRwW2xjM/F1FSDeAnUNxFluIFd7KPqDtLbaLSj0m17LZ5+1cTy/vWRqXFAV8leCaT1TGqFkCswjQu91PDaS7qupE0n6V2qKdEI55kyereAoRxpUpBonfOMT6YtsaE8sGXp8Q+w8VFbKQF+BFoP5wwVXMZkNJcxudWY8loT+uioMHZR55nJZWYhaeWBvlEQu0BlajVeXRaFCMaUlD+HaWTsd0ACzhm8ntsoBNPbZpvPZmdaBs+MCUEKbGsMtdQGyz73IbYLdzy3j44/D5/lGSbFuCJNhZBJ1H8ve2h5agBRIPdaU+8SK7Q1vagIU4OmTjc2lCzR15UtDvR4/Sy52xqMPkINdib1tv+K1mOxVFXe2CcD9/oXm0aiEj2ZVHohEqIBQxMKLQUZmVptdKYk0pLxM82fl15Oeaajp41a9ea9d6dgYZ7NCw8PbRM9m9s5wUT/l9N7HUPWUG6ms8aNwHXlzl9fTtw7N21TguGLkhsW+0onLKg83kckHn6PXESioe6zG0lEaTgtETcx9Z0/vefRbUCMfMV5PAcDKxbXrSydhBIiGlT0R/o3jqRqKhjGtO21aKWCD5uzCgmaEzFnqu1nOVvjMKJVqEgJjAtpPTKTJJIQpB6spkqyxmzSriXkHAFwA4C+aF9uRmfIhV5v8RxlkZuD3a7RNi6QCRg/IBT/+YJ5hr1U/QKdgjslatPMu1o0H02nXUP78rx0BerMUPMvFog63+PpE0ti8GQc+diLxB2pi2P3qAkTLjimkfAyAInWRHsLO43uHIAI+MyeaGHpm4c/92DxcqMD5srMTvsv6Mc4m7TrgNm6tdTfS0mM6t86PTaheoyf3TbxNhWDdrD/DyF7QD5A+V7yV+FOFqaY7DgL8hOkEYLOzc2+L2ofrHdW9iJUxdNsvGJKz6jxHKZJqN1jHeStnh67L0L48BjS1tDErCSjnH6aS/KkDMjNxytYlp0924pNHGDTQzYWLX/DeULtEAFw14C026vIlEn2fWpDDWkG1C0kJ+7e71Rds3fs0MLmnxTTZcDev9AqMaAkGbSchfob+DJeJVOs2Rz+rfAotpYJxoPRt9a8kgp9a2ZM/mBBzMws/5zjarqDU2M67nszbNIqGoBSE/1wZ2sTbk/rx84/cpQhcmb7TZG4YqYIYm62pt9joiSumedyzIKtktdt9J5Te6ILzHBhlYCZHeQGHWts/Q+vmI8+gW/ewFp90lBVnbCXOTuVwqCMMDxCr73qm2/YgRddnDrwR8fBjgEASYhW5aD9Xfv+4DBzDetnRWBK1NMLcDf2ws/dnvHo8OEqPQ1j8PGxDjtI+jBFMleJ6DGh+kwmvnNgI0tEHXal29kzvZo3bW+kuhSXSnbvaWa57NnbuUCJU81tZOlZjECRYISUpWRxGOYRCtO5NdA8GE0BwLID1/BuvsvnWk2y3IdyYtMjo4EqYcshn5qksZ8YPDalzm8sveG1ewV3Qe/aGwnbfwv4X5VJO5iBy1v2HMYXlqXIawI3AfIdANKI/RJF/a7mRnoAlAi1LXLRyo/NTUJA4p30KyV2MSwBlEAQAmNOO8wvKtIAl+HVvby5Un3/hrVBzf1r8UXvgtEl0r69HZYaf0HiqtiQULYKhlg0EajsZSXBsC4pQeCEAjN5rEoDpKaqPezsHihiDs70C/NCbU0mddw5hf60QlIcTyEu+GfTaCujRO7pXey6BLU+60z5L/ZNW0EUaY6SzAhs0AzuOZRtfub/oG6OQ89M7V5JnobdVm+gbxT7ht7pGQOPWKSqUsXx+jTAqoPFJQ41y0p6rX0jGo2p/b/hC6oGzAcukvoewD1UGwququuxTCVUaiqgeYSTYw5PlbdTOJJKq3AkGlivSfr1T/H70oxcoBY4alwhwHMR0OyUwBMPz7jd8/za/nnt79vx1oWfc31KtprOSjhLWqHcJR+GmXAqXpJYZ+B5GRKDQ/gK6VvcuKk8zT6Ds5+pxtfKlUCnGDja/mFaGJ5KixVuriXH/GWjjV71zLtaph6yC1ZeHCm/NioHvyetxs4ikSTXqLF4QOOlp3sfbcycRbzaSJQRArPjAGDhzHaZRkqSVzF6PeE+7glGkJb8W6nzhjGf+Nsx8kuF1QTGW3r3uJ3pa6Sc+8dRRqc0V8wzoY+/Gz1S35xSPJbjifMuR4Hf14wQPB6Owuw6wl0qRQP9wufR7amIovMDEW9sH5Q8IDtY7NWr1k/nmMJLp/7AZZC2AnvLYenwQjWe947h9rtP/tweCPexm+6a+LcHtPc3N3A56na2UTkWHA6qb621DiXUO6CowNy++xopLlvCqC7ztUAAd0ljFJG7B5P+KilkMEZWiP1SBIXww04VOZtY8BgMmFM0k6eSkVULkyYcy6L/B7WNj+DgmSW11JE8S3WExr31Y65AoajmnXIg+TogWpWWF5dRfIah3bYQIinwYetquIKz3w0st5/z2LiBB8rFjYkr5jTMbYffcnLtRcmkOlK6t0NdOilfmWlG+wJEA3lpkcKH/+G0SRLz1skupJ+fX/nNwcrTa8iEskXjWYU3TW34TUDPbG9BSwCsqeyI9zTpWZIwSFJoDpW1GlYycnI8GBoO2mwqrCCis9nuBgr53hRj772d31a2fme9Crl5GVJlf0tge/qmpzgEnwNoUZmHCyACjK1bhEVsaehbPJTsd7mpo0XVgWx9x0lQtGrV0+9VBcALQrAkZ2N51RIzlGHf5cLFjGUpB+176vhqu1l1K2oLcbQav+A/rVn1vhMCxahUeI3F/ZFKy+4MV5Cr+XZKurw6ER0hJg6XYmODiPL310oBH5lAMal3cVHL3zMYbbus9C6Qf6ylR+GoR9wBBZ+it2aplOo4MQg3Re4IBqWUiPfOs2phZX1TGV0Z4fXBtoLr/DiyXc3PdX3vlwipCrxgQCaktjdRjkMCX0JGDX4IeURTPaL75KDPNMoDoXgbAELGNrmDNoOoUK+SHKz2EkJ13rLjj8mFGD273EFNvKuWAxvtb16ksFJ9nLe1dmSQg1UXrEzx+QJRWOWfFvGGhqBdIhX3vFfsHDQeco4dIRgH99p31LCYX6QXqn+CgcDeuowDxQSgHsQxL44cIwGjRFpMKRrPJXuBduFWQ8oKVydxfy2dPCTVPrRqFt17wLZ55z4P2XPqjyzN67ymSZ3wsvf+gH2oYFseeHBAwcplp/jyPKp42YOnTGy1KXQa0zhq/R2UjCUUsqJ0hzxw61nmZM+67eXFacA8/HySKI0zji1TEBQ4Kyn7HxVhWoUyySO9g/6YZijHW+bt1X99T8I1g/eex+sZi+1n8hLWy4o42YYjetHrR6jSI8eKD8GToxzsLnm3lTnhZpH+crTVD544fduk9kXwWbX/jKauGREC/2qajjty9P8+snumlq9R1kR8dj8Skz15CBQNp7ar99GzpSyecH3ZHpohTqtWu6+gYMzVX4kTTAn+vY3lkE7Cv9VusM2cb/W2QYRnq6dQD/UKPAUn1SI5Hrs2vvfG63q82UIlMhBG7ZRD6kGRUAixhRpsVXFa+s12tGn/qE0BbJPi81mmDK6eGBZnTKztQw17JVAFNk/mDyW6hrGjeFab9JhWZ9li6wQVMowky62JhGZUbhG57Pph8y5gQOYIqMhqgN3GvBtpfObiWjUfdFdUvwLbRPtJpm7QAyyA78LKINdThfJbTmBEvn9mU3tAJqSiH4nLchz4E2PRlBz/3mo8rNeFDxJ3P3QCjEaj+SoP25DIV0PMlgFSCm9vf8tYJsTDrft/rihtESPNblxhYLDgcxK8EJ0M/Nlgrw4dKHtT0m6TBmNqb8Ppl9ID2h2wZPfsfPcA8qoWcJ+bcO5t6B1ztHhtN0fT7m4Ze9t5stRjnXUwf8Nadr9xH7ysZKA5XQ6lIGcIkilCGqk1NXVb1IZ1Y8s592JX7/3/LHM+bRTcxjkojJoxMnC0fhdB049dxly/Pq/ikufpOXevnJh8NOcUu59EKfot81nPuz2DBLLIUlA2/nzglIqiM8Nwo+5BIgbmPSQz9Z3IyruL0Xb1Rgd8uYELtQbOSPJl/3tX5Gb/0DRBnV4FB1TAhunZERqaYKVRLJfX+0GMqGKu7CfdVZ97z4e1dyZHpuc9fPO7eK1evRRmpCJedLjopQTu1UL9IldF5KNjofTM1Ga8ITyS9J3wEC5dLSwchRjqJItqM53/EN9zrs54l4n5hOtpf9hXJc9wnCtGU1Ky6FWoL+XkXYIWfXcdAlA4p8bkNlpX++Jk2OMSekJovpJLGXLemR1/IUrDeEZSadCB+2YMwhQx4raLF0JmnFmvI8KT/rsaW0aeoFl5Q/HusJku/dXRENGV+uC2YMeNWx7hw/gK0ktyBOmJqwXFNTWEY41UHu0+J8iaRN6pCnveVzOyNq0Z3SC4Bj79vHGTl8t37ItN5e6Cuid8j9UUOXggbSneWCfhmfAl1GnFp4PMHJC19+zSwHdI0eLAaP19t3ENJXUy1NmSDTFoBUQ5koLafJxS5DNOyt2kKyKOPxc5AGQTd5ejIagFyuiQyL8lgNvpi9UEWsA+2HLQLHTpEiPxS6RtkXnbBlN83ZGf0eo5Lb60lOTnyGRCq09JqNfxGd8sYx0KN0JiZdZzgDIriscNV2mbjkUqHHUDod7pmTRIQpakKv8VBhTnwaPZ4Go2XfNphXyC909WCgpEIEiiVeg+NQ4NUL8WzmXdqh7wqf6X2l1K/l+smVXmT0yxlHd7q46EGTYPyTe/YzzYv9gzIM68d01CrGZJHRtKg9cAroTIdH4N09WLDXsICRs+5ts1g8yI+cr2Z7M3juz+yxYZVN7rZ7pR08cAYnjo8k7b2V8BgkMShq8gG/dSq2sVyXpYILKPvmkCGPr5KDfg5tGyNnU/xaZ5hKcFlQL3FOfrIvjgKkOT9XSQzrUKuHR4wdPHoKEy32ujNzXuVfqWTYUjKBPv6rZNv1D5u3GEy/GIlty7H8G92FcCRwjQp7dVdcswQCqYuhvVal9GKTiqo3EPmz4dOgCNTQ2ReYWKAWuwGytVMCWX8ZSUFU1Llox0wTZaYjWsBpsFBYf2lT8ngNwoeG/04tw3UMb/vos0C0Pu0GqARkCPRNQgFD1NEBYj5v7rWPwzAHnXvXUVykGzejbwgTH8IOiWyREW9Af80Q0kIQ/aM6jiFIuNasXC4Em7uQuQdE8ADKf+JxPZoHvhcUpiYWcNgwTBQfdz7ew7li2GTsQvDOcCCjPJkp2bCyYhoR8IsSV50jM+CK4ZOMbaRN+YhyVfPY+9ovGLOAorh2QNMr1haRQ3eWXAXeqL2gxM0qGjDUhZlnnVudISoFe3/Jype3eJMIEULsMRwUL1qW6YjyPq4I6S9YGL8qrK/2t4V9u7CCBi9chb6uDs93BmGyNFzqANpNPvFg/BiiEDIVhEW3AvPz1oz0o0d1xHg/QqhG6Ytgxtcn0MLc4dLE0JacTV1qrl6UkZTqWrhkod2F0XCLI3py56qF5uga4fTtDQdEYNA457uIbVuBrNS43QGi6rwaIkIY/n6mDHZwjHARaaIr25bcM0TzfOIgXuGCwoX8FsQRZT2TmJgxTnNjerKk5i2Z4Qby74xbgSCgiTh+DOAxWrZbB16BscB+bYov3NhFlSWo87dyiJMYU/1hL/fNMx+aH7H2fSdoGdaISdzf8QPZeb0eBLOBqlEpYPctMhI9D6qxbUoxYcuzj65PA7UmMllEHivTk879HVIP/HMTPwSg7u7emLImg+goSzg0prZhSx/P03YGM6oeTQIB/alC26p7GS9kFz4n8RdafJ+pXu84hOjTS2p5uIsh2FlVEqmPbaZNHwwklNpgQmQnTUGZ+XmfXrjKK3Q3H+5ftKEv0+9KO+ZIOIQqSVHkB7T0emF3gC2K4Cl9eemZ7WfORxNvQzwidyrKDlm2GGY319ORq11x8Gj3RZsLFWFb/SYabDi235U8aHPn+Of8OPB02PX6G8gmiHErUDgfL5Wh1dwz/Ql86bNRPFeyyi3FibJUUV1RHlyLGzRK1t69ll2NGCXTYG7hZhGBtckvCYelb5WwQKtJdDYFyqPQJ8OhUUe61jb7n1i4gWDGNIp5FVTeBT6QqPzFLjRHT+z8GWV8KWR675OMooGsv3wn9XLB2ag6mFWbPCl3a5qMb70q8mzVZAiOVs1mm6c/KAS/gVCfGpoqdCJMKEsu0dbFqxvGmp5Leo49Rt4Cd/mAiwElOY2Rn1mjPFvmK8ZQz4Mv6GlnsM2QHA5pzWDZvVNJQqEjZ5HRr1GggoV85ydZ5XpPIQ4UN0fpjw98qEOiK9EmAO2MUutJ6UfYmeWqRb0W56q8bMSyuMntqhPlF4zhfLL/dtCqDkoby/Z2irgfY+i6OvBf+jUAERgi1++74UO3q/63xafb9Na5kci1XFV1O386A2o3ZQQtCv95ovF1QKDJiNRx4awem8Lbf9QrtaAXOsEmkR6L5bYwtdzje8ehnFMQiAKYQp5QrcXMHhq+DP9YgKyJKMIzO8dBSk09XhHOy/EJbwSIi7ColsxvVpUzOjRXLQT231Z+YJCHrGmTEzr65Zohjh4/g8z1cZe+/Uc1e+PLn55mBX83IcTntXtnqBXumbMc01KO0TmQr/vdDV/YvKS42IPiwbX57aw8wBnmxkKIuBweE8GdqNqVFT46qoM/ytcPNrQapfi0HKN1/OQMD/RikPRXb6UrLRRE00Sfhu650fu9xII7ScercXXZkQmVUBjYPyGW0RUZF+6Q8IOf4VsgCYZoAKkFHcB6zCBC7GDfUZXWC/EYReCQDHTtKFaN2CSo7OKkRDDWesEx8ber6LO9yiw90+JX5LmIddNpWDvYBAUeuNRa1R8EhPsgggFul6hCCHVU5DbmE/VG0l6/KU5kiXR+cM7RLVfnBgzYkvRoFv8QOJLzVvKHSTvvJtJw6AmVAZg+mVk+2ZHJ4FoYL1KoPNAy2zeN+SFQu6qFBCsnAz6JIuGzz4++ioBH9vQflk2TUe+dJyJhVktFYJsnoe/nBBT+xiEx4ZLZEGk/KUZT48f/que2+n2/1pYPvbMpERFhWNKN/swytZgBCG4qWk7S7dm+e0kXm5vTna1V+n/2SJhZMhqaVs/PaM4FGl7eaciJp6dPcuryEYfPCBVIyJZYxwjmA2Mggae5/VHn6twjYv/p5Uj8i5RVxSqjE95stc1QqQV9recfFPTdlHh0N7zlPQH6m4MR9cd0dLpWKvZC5XdC6sDupuIRasIfn/Xqf7qMrdKhhfzsPb9LGvFS0YeuR8v+efNnmOHHx0BsgCTe+XfVzEfVf3p/mQF2gGt4zsfabIpCq+Os6BIskWbL8anSBeN44OTNBnvU8eGGMwpHyBF/i8v1KTtHcFso2eaQlOC60jClnJOy2Uh90lB8UpO5PhPrCN2E2XjT7xEosPBUEnNPunZ3EjfT3AbN9Gv+eW5NfRnsGJ8AYoBDmgrLK5hZxi1vOj+SE3ggF6k/qJwk7QjyRfrynmVRDnniM10c1r+rblkMl40DlV2dov2rJIsWkSlKiCBeDOKKsGLp4oQQMvyr8aI8kfOBDWsrMeuBv6/zukPFhtZ/rYaZ6AlGDJuPU5Z2CvkJwAhBi0eLSdGOc6zhq/jO4BkW/uWyphbaLKzx9VQnZIOlpdn4Ud0idyLNLIrK8s2l7IHRT8yi70VTCGjC5uBRgJw+VONDXVFW5lLQKPGGRS4TmiL2La2TZHUmjCbds4+PjlQwns4GJTadjKfr5qpAK/5Y555f/ZNdBee78+nRb5sIqFVzDElDX47I91Rgo1YokasLgkRxxAvn3FNE64h8zcEwGjIYCUb/C7I5JHdhN5Z1X7RKv0hx11HClLFf/Kgq9U15gYlXH5CSEE3OJ09OxdTbAH1vhoHzF5K5BAbSJHe0B+yc5Llb1jRQAJ2yZ1dzFZIu7WQUF3E3Bn1rZPHt2IXo72SihmSD+NCIdfOHGmwbqQ1TEePRSixon1w0ii4ahq0eCp5R+q934JEwyHj4XCSEeC8SUgOKLfjgoOhgFvyijjiPyqJ6Rdll60o32EMx2JJ2nL3wzoRoI14EJH1SkW4H6MLSIuDZRfd6fD2UDpLaYjgpCuubzFLHXIa9voJ/+28a+W8Tk4hUm1svl9v4bviA5+277ofmawXk2NH9wfm6E+mx17LAohWzM8VabbUjXiwPdhGMwcGiKfXgt5IJ+8MV9pYXV3ubgaavQFmv2LnIkra/4ncKLwKOaZPY/YhQBMBA46SOxo90KFJGdH2r1SpK/f/+qhHqGql2RoBTLhEboO+C5N6Q1fULkjSuFpBveY6cqkdvBqBAgPRbukwQV6OOn0wwdkAz0epQZ9IrSWtWK99hgnLC1VVQCUZVC3EI1n0gSHqbpiKcUay0uk6IJ2PfRyAvr9WPKxUg7A60yRp6Box+bMSpQKNsLkjh2FOS7hot4wqJx4T0+XQcCnQhNT6IwVCIazHjutHDrGqvtPpIFfNjVRAAoHercZpLpiPtMSObNJAfK6YPCLy2tylpehFUSHf1N5c1vNBTc6Uwmpdb7SyOCs8B+6qoxqQdi7ynsrOaAcIpmle+m0HDOK2V5Ftd9Qff66ZdvcuIWpYlbBd4LyyoPlzOSmFiLfTPpSDxovfBt4pVK76nhbkc/s8XX8euZOpu3lCOHHVAhTk/yxo9y5FxUS1zcPG6uHt6uSjMb6RTzd3hEgzjlyhxmOtJzSimT79vSpdo0pMoyYSJG29cYp4rEgwyL/mUojXI3EcPFSuHvEOk2/Y56tZtIRxvyOL2z/TDkd/f8ADb99/r/myYFvw30aGF1BVGC2LOakBhr5B5EO3fS3uHGB2vN5rZOEoazZI4Gqj5LkXkhXISTin5tw8VoovC7pWTaImj/d7mL6lh8wQ50NV7aAoK/tkMaEzVbCDIuzt8unmdFDGcAUqjwPOiV71yT8MUkcAXlzrA7vWJotPIfxEhC8wKCp0fV5PjmwMOr2olj+u2Yx5pD4rpBXDKLpbNiU+dvWUNvkV48oXB2BsGdCxkIIvuHGXw7ESoBCpiO0+GLz/ZEIyBo9ADqid7krPaGd94lSI04PU2092799pL1WLVeKv79Zbn/gv8RW2xLXXMPBTlL9AIVCvn4ZCroz0LBHB/WETOcuJ92OaKIEBskHI9JlwU/FhLdctsJ3PcRS8NmGz8fHAUAIkEOjkqIZUMyQwjLE38kmYI6QTyNxDtaQGPKD5deOmm727RaHsBag7TIx3VVADHlhi7k/42My08bcJ+MVKOMRZ4KKpQ6jr5KNs0HFUxrbK5JCClJgz5oTC3QH1VsLFmF/15DG67zTbngVK8GitrmAzMqLIyc845xLhl/xfKrzrYmvP6zysxbftp74At9yZYA1oTqL3Jqxx4KtdASyMDVEnlNm41tO4R9fmpWElDrgO/45EnlnBoP6WQ86RhFH8j2hie5pT2kC7r56BWnXXJWx0q5xwdGF2yOpKWPpnEVJA/rjUy/XuyCSr1YQ67kgODPLLffx9l3vFrtIct0vP/zWjpiVaYV4NNwnR/yJohoc/w6nniEWcB5cOnv8ob49lYXg2K592ErdJ1Ja1VTZG+3O+OksRAs5SCnZPtWlmXny5CvqrYAAMxIUpaiHUXP4PJEOzswWSuku+U0I8YVvkW8LcRDLDmruX+G/o3YbBkYmIDaXxrRaEfdIkRx98IXlvmNfirORXdEE50QOLjNEpcuWI1HAOmwVR6EDMD1jxorB9CUax4cWKil+Cv/AWO2ylZdRRC6bIDpBTTAfKGUYLKJvSWPl3RO5BbCQX+fQEyBkczP0W2Le6Vu0QW7geytVvzZrywSF8+ezxnaYkxUw9JxHfBXvj28eUmbEyA/gSmyTkSx7DNvWb52pSo7C/9+j3prBFAxpuWrhzx4pst3FeeMOfAaXbfsAQQYoZOtz34kML2IkgzRqkFOslVtaIhyZIDJafpSoXx1v/AxVASAZk+OsU1+bcAmtu+M0AZMzzXWHSI+4q7PbuQr5s3n5Jd7igdHzeuO3QqbrpXJc0xORFZPLeaMo5/7+/epzjMFSSCU8QXE5BEawI1h8yTngEXzo0+4V1yiGffWIkZCbSTQAYZt5SmYNx858LaTbHFxF0s9aFsNVmI1gPg3IdflofSEFcYIGBg4gFanJQT8MmaFo/xuuwhR4lQsDKJYMO1y1n44JpvV30zcdgS20oIwt8Xe6Ki5gf1AvBbD6v0UQA3NJiFwfxAZ3vmNOAt3Ss6l9KfmOJUB58TPrxI63fdxH3HiA06pNIiPr8eHbnCsULKJFz0F9Mk0+HCZ0t/JH3u3IqB7Eg+DN/s97Xhm6OJUxKIxijVUjBaEwfeQXVwAKAwAaJ2jFbc7Jd3xIb2YxGtvQBtZNuyFbhreUA4Zehh+c2d9INVGLaTFhkMf0i7TZs/NV4A0sLWslvZxTvoZtusDL8t1XEVVQOOsqRK+tn39uU1tkn3zQ7pPUgv9WyJfchCmGNHEgEID7gjtHf9ri1MkVuK023gyNLxIwtU7aZe9g59K9FBIuNcfJ5m+s/XgMfFyV6+wACAZW59USui36wqmCIHNe643WjMOg4BG0fBe4fcDnZJjzHbsCBDH8oPilUma6eBSM0BobTrMp9xtnW7etHYNZc4qWvvASw+j3jH7vEp7smSybPMW4Ip8Sr3UkbyRIZECVATQcy1wvB13TYugaH2m6JYh7ykeG5mWJ2uMoS0o7sq9xb5mA5lKeiPtzj7I2qY993gewUM0dTb87Jxja+dBhAHRruAXJYkWpIBoTd1UDi1/ATKehDkl4AGA6B/Co9AoWoScJ3Wb5BVn44vy4XEDo//iF6TZ4MqBInpTtcCmxzPpC/N1uH9HAGbK8fqkWwXRy1Yb6DWzoVPklKZa0g4HqB+F0bx4IwUpggXHQHGRWl851gBwaJMPuRuP95OGH6FGg5gYd6B3jIIkaLqGN6lz7mSwijC9LE1Lot6Hbz174TH6o85NtIHBwdT0MtJBkIBw+OgL1ksZWE1n2cd+NIvMN9jIEOKpEMEJMRvFf4dvVgi1wnyC20hAE07/pA/KRFjSvN6bt2/diDRDeCebBhUC7ldCZgUNt29E+P/WCgKWgV+X90Rg1p/RtSBYKeGqkt9JVVCLq+Omf9pw4PUDq4vAVWbv8coKOYp+ESarZSeuW8Z4mYRy2FOMnPs1vjzOrpiXp/hXrNyC3UqqSnMrLxCWaLsskTVhjx0YHPByntcJyB1SJIOCa7i2ErAxS9TaRsjknp+0ue+6h+jYrVrn8teHJG+3ryBczvDF2pl1tGN05JCJmFGj361+rqRNo6ycnNcM25WJyGP0Ti7OndnuANEKrcZSgbHRY64VM1tv/kWhG+UYZvOlXO17s15s2+Z7jF3iXJYPS7Soyaa+5jB9qDzRvamBw2dDQCeBMSvBTzLPVVdTzTl1p7vZ0zwCHykqIPbY5Bf2CpVcvNUOVosMXsgcWN7N6GWH3SI0mp2uxqjmRJO/3cJWjLVxLPJOM97A58MWffe8z77lASs9LI7F0JptKKN+VcnDArvJuOjsvXPfR6l3ocsxZwYfvNax2WOLmRydtuLrDvAtmCVvJyfoO7iWMSVkyjO28BelzpSbQGY4yWnQxy4RMzh601oXGQnhvkZUmYQaFCYfKy/euwN7DjTDpggMIDgT1oAmz8h6I4rxrrS6F9AuLcyIaCcxdOaHCbewt5g7EHXGHfrzRRgahqoXUd1BwFbrBLn3EKz1a+Iy6HPrBbaK4qZguqzEwZJp1FpLSMCKuCWZnURQyA9uCyK2mPhN7ulI+a+jD+qfQ/Nb0RzXpf8aBUiXxSres9mnyDX6Yhk7/W1xt3KyqoHU2HWa2Qf8NVT1Psff8wpeTfTVoOcEzR4GGYLngcNSP2Xa2pjaKuvwvp3OtYYiFmMDK8eelqG8pSZkGLYoVdL+rRr++pU///Ns2GvZt5CHMMPwPGfyU3PZijOJ2nHOo03akY3Jv6JmKAYXy5l5Y4xmdoH/cELyi2c4yinNBQXNn/L+qI7D9qRX6kZGWfggvGfhR2G74IHM/+dEmNmPAFC8nlE+9KWvYFUjt0nRB/e1QkZQg/jnzKwNKWs9zvVqzV5KrE6TG5SmMnQC+7vU5K/VWVGQSWpzrWBknUMt7IKN/Ak1LlV/IYXiZOQWu7xgG2wGxHSj6id8yZzTNjcD4f6MwWSPnrP6qP169sL+o0SYsywoJf3U3dI/cDrrb9blRU8xIj+t0QWf54+qjauWacFgNNTiBjRxaOB3vW439+GPuvZeWxeoMUL3lq5aFdeKOGN+l7m0sZcNBzDsLPgJu68OaysFSc7mLKb4NnPPwofuZd+tF7TeBQQ6vvvVTomiRhWTolv+UI/73om+fI7r8L9Bpjx791M6bd73yH67nsG2BoWrpbgvyrsSF76T/ClGigKHrrusJtERKwrZUQD9vFm5uk3mydHsZpZwc6WinkLWMk+fNP4OBKE3vsId8Jh3fjAxoUNppJZFUrBUpPgNe2FrSMBIs/f6794NZGiYjJeA5kC2bzPbl9WmzaHtXkyDWmznyN2VV4keVr5w="/>
  <p:tag name="MEKKOXMLTAGS" val="1"/>
  <p:tag name="MEKKOEXCEL5" val="=Sheet1!$A$3:$G$10"/>
  <p:tag name="MEKKOEXCEL2" val="zzMG_Chart3"/>
  <p:tag name="MEKKOEXCEL1" val="Book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8" ma:contentTypeDescription="Create a new document." ma:contentTypeScope="" ma:versionID="a6a1a80cd16e7a20aa15202249067693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cb3e864e5d419d881ed49dd576a89680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Props1.xml><?xml version="1.0" encoding="utf-8"?>
<ds:datastoreItem xmlns:ds="http://schemas.openxmlformats.org/officeDocument/2006/customXml" ds:itemID="{064962FA-1A2E-4F96-A1EF-F07ABE540D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938A6D-6F5A-42A5-98C0-B80A54977D40}">
  <ds:schemaRefs>
    <ds:schemaRef ds:uri="http://schemas.microsoft.com/office/2006/metadata/properties"/>
    <ds:schemaRef ds:uri="http://schemas.microsoft.com/office/infopath/2007/PartnerControls"/>
    <ds:schemaRef ds:uri="f252f0d0-fd33-4d0c-9344-d2a950077a4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321</TotalTime>
  <Words>48</Words>
  <Application>Microsoft Office PowerPoint</Application>
  <PresentationFormat>On-screen Show (4:3)</PresentationFormat>
  <Paragraphs>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entury Gothic</vt:lpstr>
      <vt:lpstr>Clarity</vt:lpstr>
      <vt:lpstr>Uber Revenue Mix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20</cp:revision>
  <cp:lastPrinted>2018-12-11T20:03:10Z</cp:lastPrinted>
  <dcterms:created xsi:type="dcterms:W3CDTF">2014-11-08T22:34:19Z</dcterms:created>
  <dcterms:modified xsi:type="dcterms:W3CDTF">2020-11-13T16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